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0"/>
  </p:notesMasterIdLst>
  <p:sldIdLst>
    <p:sldId id="256" r:id="rId5"/>
    <p:sldId id="258" r:id="rId6"/>
    <p:sldId id="366" r:id="rId7"/>
    <p:sldId id="355" r:id="rId8"/>
    <p:sldId id="356" r:id="rId9"/>
    <p:sldId id="377" r:id="rId10"/>
    <p:sldId id="344" r:id="rId11"/>
    <p:sldId id="357" r:id="rId12"/>
    <p:sldId id="291" r:id="rId13"/>
    <p:sldId id="301" r:id="rId14"/>
    <p:sldId id="367" r:id="rId15"/>
    <p:sldId id="349" r:id="rId16"/>
    <p:sldId id="386" r:id="rId17"/>
    <p:sldId id="360" r:id="rId18"/>
    <p:sldId id="361" r:id="rId19"/>
    <p:sldId id="362" r:id="rId20"/>
    <p:sldId id="363" r:id="rId21"/>
    <p:sldId id="378" r:id="rId22"/>
    <p:sldId id="364" r:id="rId23"/>
    <p:sldId id="369" r:id="rId24"/>
    <p:sldId id="381" r:id="rId25"/>
    <p:sldId id="382" r:id="rId26"/>
    <p:sldId id="383" r:id="rId27"/>
    <p:sldId id="384" r:id="rId28"/>
    <p:sldId id="385" r:id="rId29"/>
  </p:sldIdLst>
  <p:sldSz cx="12192000" cy="6858000"/>
  <p:notesSz cx="6858000" cy="9144000"/>
  <p:custDataLst>
    <p:tags r:id="rId31"/>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E5727F-1B2C-01DB-5952-846F84E56B5A}" name="Eveline van Drielen" initials="Ev" userId="S::E.vanDrielen@pznl.nl::d402dffe-06a5-4224-a401-519138ee5082" providerId="AD"/>
  <p188:author id="{A1FB83AE-DC94-96B2-1159-042F582BA175}" name="Henk-Jan de Winter" initials="HW" userId="S::h.dewinter@pznl.nl::c1f23858-4ba2-47c9-810d-b93f9871d62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60276A-09C8-4E7D-90A3-C0B3728A05EC}" v="181" dt="2025-06-16T10:04:16.970"/>
    <p1510:client id="{92B624EE-BA19-B67A-9857-C30C7DBC6FEE}" v="7" dt="2025-06-16T07:47:02.84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Stijl, gemiddeld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nk-Jan de Winter" userId="S::h.dewinter@pznl.nl::c1f23858-4ba2-47c9-810d-b93f9871d62a" providerId="AD" clId="Web-{4A0BFC4E-4DFA-40BE-B41B-A3239E3CEE1F}"/>
    <pc:docChg chg="modSld">
      <pc:chgData name="Henk-Jan de Winter" userId="S::h.dewinter@pznl.nl::c1f23858-4ba2-47c9-810d-b93f9871d62a" providerId="AD" clId="Web-{4A0BFC4E-4DFA-40BE-B41B-A3239E3CEE1F}" dt="2025-06-05T06:46:46.748" v="1" actId="20577"/>
      <pc:docMkLst>
        <pc:docMk/>
      </pc:docMkLst>
      <pc:sldChg chg="modSp">
        <pc:chgData name="Henk-Jan de Winter" userId="S::h.dewinter@pznl.nl::c1f23858-4ba2-47c9-810d-b93f9871d62a" providerId="AD" clId="Web-{4A0BFC4E-4DFA-40BE-B41B-A3239E3CEE1F}" dt="2025-06-05T06:46:46.748" v="1" actId="20577"/>
        <pc:sldMkLst>
          <pc:docMk/>
          <pc:sldMk cId="1232185973" sldId="359"/>
        </pc:sldMkLst>
      </pc:sldChg>
    </pc:docChg>
  </pc:docChgLst>
  <pc:docChgLst>
    <pc:chgData name="Eveline van Drielen" userId="S::e.vandrielen@pznl.nl::d402dffe-06a5-4224-a401-519138ee5082" providerId="AD" clId="Web-{92B624EE-BA19-B67A-9857-C30C7DBC6FEE}"/>
    <pc:docChg chg="modSld">
      <pc:chgData name="Eveline van Drielen" userId="S::e.vandrielen@pznl.nl::d402dffe-06a5-4224-a401-519138ee5082" providerId="AD" clId="Web-{92B624EE-BA19-B67A-9857-C30C7DBC6FEE}" dt="2025-06-16T07:47:02.849" v="6" actId="20577"/>
      <pc:docMkLst>
        <pc:docMk/>
      </pc:docMkLst>
      <pc:sldChg chg="modSp">
        <pc:chgData name="Eveline van Drielen" userId="S::e.vandrielen@pznl.nl::d402dffe-06a5-4224-a401-519138ee5082" providerId="AD" clId="Web-{92B624EE-BA19-B67A-9857-C30C7DBC6FEE}" dt="2025-06-16T07:47:02.849" v="6" actId="20577"/>
        <pc:sldMkLst>
          <pc:docMk/>
          <pc:sldMk cId="1640611956" sldId="384"/>
        </pc:sldMkLst>
        <pc:spChg chg="mod">
          <ac:chgData name="Eveline van Drielen" userId="S::e.vandrielen@pznl.nl::d402dffe-06a5-4224-a401-519138ee5082" providerId="AD" clId="Web-{92B624EE-BA19-B67A-9857-C30C7DBC6FEE}" dt="2025-06-16T07:47:02.849" v="6" actId="20577"/>
          <ac:spMkLst>
            <pc:docMk/>
            <pc:sldMk cId="1640611956" sldId="384"/>
            <ac:spMk id="4" creationId="{FF1FD81E-5F2E-0F8D-BAC0-F4556047F689}"/>
          </ac:spMkLst>
        </pc:spChg>
      </pc:sldChg>
    </pc:docChg>
  </pc:docChgLst>
  <pc:docChgLst>
    <pc:chgData name="Henk-Jan de Winter" userId="c1f23858-4ba2-47c9-810d-b93f9871d62a" providerId="ADAL" clId="{40FD3CA5-3540-394F-854C-B9321036E174}"/>
    <pc:docChg chg="undo custSel modSld">
      <pc:chgData name="Henk-Jan de Winter" userId="c1f23858-4ba2-47c9-810d-b93f9871d62a" providerId="ADAL" clId="{40FD3CA5-3540-394F-854C-B9321036E174}" dt="2025-06-09T15:50:48.177" v="482" actId="20577"/>
      <pc:docMkLst>
        <pc:docMk/>
      </pc:docMkLst>
      <pc:sldChg chg="modSp mod">
        <pc:chgData name="Henk-Jan de Winter" userId="c1f23858-4ba2-47c9-810d-b93f9871d62a" providerId="ADAL" clId="{40FD3CA5-3540-394F-854C-B9321036E174}" dt="2025-06-09T15:49:35.987" v="372" actId="20577"/>
        <pc:sldMkLst>
          <pc:docMk/>
          <pc:sldMk cId="1955152661" sldId="364"/>
        </pc:sldMkLst>
        <pc:graphicFrameChg chg="mod modGraphic">
          <ac:chgData name="Henk-Jan de Winter" userId="c1f23858-4ba2-47c9-810d-b93f9871d62a" providerId="ADAL" clId="{40FD3CA5-3540-394F-854C-B9321036E174}" dt="2025-06-09T15:49:35.987" v="372" actId="20577"/>
          <ac:graphicFrameMkLst>
            <pc:docMk/>
            <pc:sldMk cId="1955152661" sldId="364"/>
            <ac:graphicFrameMk id="3" creationId="{87E07C37-81E9-78E9-E427-98EBC602D915}"/>
          </ac:graphicFrameMkLst>
        </pc:graphicFrameChg>
      </pc:sldChg>
      <pc:sldChg chg="modSp mod">
        <pc:chgData name="Henk-Jan de Winter" userId="c1f23858-4ba2-47c9-810d-b93f9871d62a" providerId="ADAL" clId="{40FD3CA5-3540-394F-854C-B9321036E174}" dt="2025-06-09T15:47:20.640" v="247" actId="20577"/>
        <pc:sldMkLst>
          <pc:docMk/>
          <pc:sldMk cId="1449244481" sldId="383"/>
        </pc:sldMkLst>
        <pc:spChg chg="mod">
          <ac:chgData name="Henk-Jan de Winter" userId="c1f23858-4ba2-47c9-810d-b93f9871d62a" providerId="ADAL" clId="{40FD3CA5-3540-394F-854C-B9321036E174}" dt="2025-06-09T15:47:20.640" v="247" actId="20577"/>
          <ac:spMkLst>
            <pc:docMk/>
            <pc:sldMk cId="1449244481" sldId="383"/>
            <ac:spMk id="2" creationId="{7C8D0014-2BB2-5328-7D8F-27A6DBEB4674}"/>
          </ac:spMkLst>
        </pc:spChg>
      </pc:sldChg>
      <pc:sldChg chg="modSp mod">
        <pc:chgData name="Henk-Jan de Winter" userId="c1f23858-4ba2-47c9-810d-b93f9871d62a" providerId="ADAL" clId="{40FD3CA5-3540-394F-854C-B9321036E174}" dt="2025-06-09T15:50:48.177" v="482" actId="20577"/>
        <pc:sldMkLst>
          <pc:docMk/>
          <pc:sldMk cId="1640611956" sldId="384"/>
        </pc:sldMkLst>
        <pc:spChg chg="mod">
          <ac:chgData name="Henk-Jan de Winter" userId="c1f23858-4ba2-47c9-810d-b93f9871d62a" providerId="ADAL" clId="{40FD3CA5-3540-394F-854C-B9321036E174}" dt="2025-06-09T15:50:48.177" v="482" actId="20577"/>
          <ac:spMkLst>
            <pc:docMk/>
            <pc:sldMk cId="1640611956" sldId="384"/>
            <ac:spMk id="4" creationId="{FF1FD81E-5F2E-0F8D-BAC0-F4556047F689}"/>
          </ac:spMkLst>
        </pc:spChg>
      </pc:sldChg>
    </pc:docChg>
  </pc:docChgLst>
  <pc:docChgLst>
    <pc:chgData name="Henk-Jan de Winter" userId="S::h.dewinter@pznl.nl::c1f23858-4ba2-47c9-810d-b93f9871d62a" providerId="AD" clId="Web-{89FBBEE8-1A85-4ABA-9F8F-4D49FD3128B1}"/>
    <pc:docChg chg="mod modSld">
      <pc:chgData name="Henk-Jan de Winter" userId="S::h.dewinter@pznl.nl::c1f23858-4ba2-47c9-810d-b93f9871d62a" providerId="AD" clId="Web-{89FBBEE8-1A85-4ABA-9F8F-4D49FD3128B1}" dt="2025-06-13T13:16:07.032" v="341" actId="20577"/>
      <pc:docMkLst>
        <pc:docMk/>
      </pc:docMkLst>
      <pc:sldChg chg="modSp">
        <pc:chgData name="Henk-Jan de Winter" userId="S::h.dewinter@pznl.nl::c1f23858-4ba2-47c9-810d-b93f9871d62a" providerId="AD" clId="Web-{89FBBEE8-1A85-4ABA-9F8F-4D49FD3128B1}" dt="2025-06-13T12:53:21.326" v="20" actId="20577"/>
        <pc:sldMkLst>
          <pc:docMk/>
          <pc:sldMk cId="1658051717" sldId="360"/>
        </pc:sldMkLst>
        <pc:graphicFrameChg chg="modGraphic">
          <ac:chgData name="Henk-Jan de Winter" userId="S::h.dewinter@pznl.nl::c1f23858-4ba2-47c9-810d-b93f9871d62a" providerId="AD" clId="Web-{89FBBEE8-1A85-4ABA-9F8F-4D49FD3128B1}" dt="2025-06-13T12:53:21.326" v="20" actId="20577"/>
          <ac:graphicFrameMkLst>
            <pc:docMk/>
            <pc:sldMk cId="1658051717" sldId="360"/>
            <ac:graphicFrameMk id="3" creationId="{817139EC-D615-61A7-7776-5BCCADC72CF0}"/>
          </ac:graphicFrameMkLst>
        </pc:graphicFrameChg>
      </pc:sldChg>
      <pc:sldChg chg="modSp">
        <pc:chgData name="Henk-Jan de Winter" userId="S::h.dewinter@pznl.nl::c1f23858-4ba2-47c9-810d-b93f9871d62a" providerId="AD" clId="Web-{89FBBEE8-1A85-4ABA-9F8F-4D49FD3128B1}" dt="2025-06-13T12:55:38.300" v="21" actId="1076"/>
        <pc:sldMkLst>
          <pc:docMk/>
          <pc:sldMk cId="1055434460" sldId="363"/>
        </pc:sldMkLst>
        <pc:graphicFrameChg chg="mod">
          <ac:chgData name="Henk-Jan de Winter" userId="S::h.dewinter@pznl.nl::c1f23858-4ba2-47c9-810d-b93f9871d62a" providerId="AD" clId="Web-{89FBBEE8-1A85-4ABA-9F8F-4D49FD3128B1}" dt="2025-06-13T12:55:38.300" v="21" actId="1076"/>
          <ac:graphicFrameMkLst>
            <pc:docMk/>
            <pc:sldMk cId="1055434460" sldId="363"/>
            <ac:graphicFrameMk id="3" creationId="{B03D0649-E89C-B126-A974-C0CE02F4C145}"/>
          </ac:graphicFrameMkLst>
        </pc:graphicFrameChg>
      </pc:sldChg>
      <pc:sldChg chg="modSp">
        <pc:chgData name="Henk-Jan de Winter" userId="S::h.dewinter@pznl.nl::c1f23858-4ba2-47c9-810d-b93f9871d62a" providerId="AD" clId="Web-{89FBBEE8-1A85-4ABA-9F8F-4D49FD3128B1}" dt="2025-06-13T12:59:39.309" v="25" actId="20577"/>
        <pc:sldMkLst>
          <pc:docMk/>
          <pc:sldMk cId="1955152661" sldId="364"/>
        </pc:sldMkLst>
        <pc:graphicFrameChg chg="modGraphic">
          <ac:chgData name="Henk-Jan de Winter" userId="S::h.dewinter@pznl.nl::c1f23858-4ba2-47c9-810d-b93f9871d62a" providerId="AD" clId="Web-{89FBBEE8-1A85-4ABA-9F8F-4D49FD3128B1}" dt="2025-06-13T12:59:39.309" v="25" actId="20577"/>
          <ac:graphicFrameMkLst>
            <pc:docMk/>
            <pc:sldMk cId="1955152661" sldId="364"/>
            <ac:graphicFrameMk id="3" creationId="{87E07C37-81E9-78E9-E427-98EBC602D915}"/>
          </ac:graphicFrameMkLst>
        </pc:graphicFrameChg>
      </pc:sldChg>
      <pc:sldChg chg="modSp modCm">
        <pc:chgData name="Henk-Jan de Winter" userId="S::h.dewinter@pznl.nl::c1f23858-4ba2-47c9-810d-b93f9871d62a" providerId="AD" clId="Web-{89FBBEE8-1A85-4ABA-9F8F-4D49FD3128B1}" dt="2025-06-13T13:16:07.032" v="341" actId="20577"/>
        <pc:sldMkLst>
          <pc:docMk/>
          <pc:sldMk cId="1640611956" sldId="384"/>
        </pc:sldMkLst>
        <pc:spChg chg="mod">
          <ac:chgData name="Henk-Jan de Winter" userId="S::h.dewinter@pznl.nl::c1f23858-4ba2-47c9-810d-b93f9871d62a" providerId="AD" clId="Web-{89FBBEE8-1A85-4ABA-9F8F-4D49FD3128B1}" dt="2025-06-13T13:16:07.032" v="341" actId="20577"/>
          <ac:spMkLst>
            <pc:docMk/>
            <pc:sldMk cId="1640611956" sldId="384"/>
            <ac:spMk id="4" creationId="{FF1FD81E-5F2E-0F8D-BAC0-F4556047F689}"/>
          </ac:spMkLst>
        </pc:spChg>
        <pc:extLst>
          <p:ext xmlns:p="http://schemas.openxmlformats.org/presentationml/2006/main" uri="{D6D511B9-2390-475A-947B-AFAB55BFBCF1}">
            <pc226:cmChg xmlns:pc226="http://schemas.microsoft.com/office/powerpoint/2022/06/main/command" chg="mod">
              <pc226:chgData name="Henk-Jan de Winter" userId="S::h.dewinter@pznl.nl::c1f23858-4ba2-47c9-810d-b93f9871d62a" providerId="AD" clId="Web-{89FBBEE8-1A85-4ABA-9F8F-4D49FD3128B1}" dt="2025-06-13T13:16:01.282" v="340" actId="20577"/>
              <pc2:cmMkLst xmlns:pc2="http://schemas.microsoft.com/office/powerpoint/2019/9/main/command">
                <pc:docMk/>
                <pc:sldMk cId="1640611956" sldId="384"/>
                <pc2:cmMk id="{504A73EE-AED1-4079-A336-CE2629E91B59}"/>
              </pc2:cmMkLst>
            </pc226:cmChg>
          </p:ext>
        </pc:extLst>
      </pc:sldChg>
    </pc:docChg>
  </pc:docChgLst>
  <pc:docChgLst>
    <pc:chgData name="Eveline van Drielen" userId="d402dffe-06a5-4224-a401-519138ee5082" providerId="ADAL" clId="{3C60276A-09C8-4E7D-90A3-C0B3728A05EC}"/>
    <pc:docChg chg="undo custSel addSld delSld modSld sldOrd">
      <pc:chgData name="Eveline van Drielen" userId="d402dffe-06a5-4224-a401-519138ee5082" providerId="ADAL" clId="{3C60276A-09C8-4E7D-90A3-C0B3728A05EC}" dt="2025-06-16T10:04:16.970" v="4949" actId="5793"/>
      <pc:docMkLst>
        <pc:docMk/>
      </pc:docMkLst>
      <pc:sldChg chg="modSp mod">
        <pc:chgData name="Eveline van Drielen" userId="d402dffe-06a5-4224-a401-519138ee5082" providerId="ADAL" clId="{3C60276A-09C8-4E7D-90A3-C0B3728A05EC}" dt="2025-06-04T11:49:41.739" v="73" actId="20577"/>
        <pc:sldMkLst>
          <pc:docMk/>
          <pc:sldMk cId="259076094" sldId="256"/>
        </pc:sldMkLst>
        <pc:spChg chg="mod">
          <ac:chgData name="Eveline van Drielen" userId="d402dffe-06a5-4224-a401-519138ee5082" providerId="ADAL" clId="{3C60276A-09C8-4E7D-90A3-C0B3728A05EC}" dt="2025-06-04T11:49:41.739" v="73" actId="20577"/>
          <ac:spMkLst>
            <pc:docMk/>
            <pc:sldMk cId="259076094" sldId="256"/>
            <ac:spMk id="11" creationId="{353125B2-72A9-B223-260D-25D0D4D8A4F2}"/>
          </ac:spMkLst>
        </pc:spChg>
      </pc:sldChg>
      <pc:sldChg chg="modSp mod modNotesTx">
        <pc:chgData name="Eveline van Drielen" userId="d402dffe-06a5-4224-a401-519138ee5082" providerId="ADAL" clId="{3C60276A-09C8-4E7D-90A3-C0B3728A05EC}" dt="2025-06-11T07:54:53.101" v="2494" actId="27636"/>
        <pc:sldMkLst>
          <pc:docMk/>
          <pc:sldMk cId="2979246287" sldId="258"/>
        </pc:sldMkLst>
        <pc:spChg chg="mod">
          <ac:chgData name="Eveline van Drielen" userId="d402dffe-06a5-4224-a401-519138ee5082" providerId="ADAL" clId="{3C60276A-09C8-4E7D-90A3-C0B3728A05EC}" dt="2025-06-11T07:54:53.101" v="2494" actId="27636"/>
          <ac:spMkLst>
            <pc:docMk/>
            <pc:sldMk cId="2979246287" sldId="258"/>
            <ac:spMk id="7" creationId="{0EDF6B68-DA54-2986-D44B-05022A2B0F2D}"/>
          </ac:spMkLst>
        </pc:spChg>
        <pc:graphicFrameChg chg="mod modGraphic">
          <ac:chgData name="Eveline van Drielen" userId="d402dffe-06a5-4224-a401-519138ee5082" providerId="ADAL" clId="{3C60276A-09C8-4E7D-90A3-C0B3728A05EC}" dt="2025-06-04T11:50:41.903" v="95" actId="790"/>
          <ac:graphicFrameMkLst>
            <pc:docMk/>
            <pc:sldMk cId="2979246287" sldId="258"/>
            <ac:graphicFrameMk id="13" creationId="{77E98E16-48CA-A42A-4E1A-8BFF4FB6F660}"/>
          </ac:graphicFrameMkLst>
        </pc:graphicFrameChg>
        <pc:picChg chg="mod">
          <ac:chgData name="Eveline van Drielen" userId="d402dffe-06a5-4224-a401-519138ee5082" providerId="ADAL" clId="{3C60276A-09C8-4E7D-90A3-C0B3728A05EC}" dt="2025-06-04T11:50:12.378" v="92" actId="1076"/>
          <ac:picMkLst>
            <pc:docMk/>
            <pc:sldMk cId="2979246287" sldId="258"/>
            <ac:picMk id="6" creationId="{FDAB6331-4FFE-FD52-B129-620EAE3ED1DD}"/>
          </ac:picMkLst>
        </pc:picChg>
      </pc:sldChg>
      <pc:sldChg chg="modSp add mod">
        <pc:chgData name="Eveline van Drielen" userId="d402dffe-06a5-4224-a401-519138ee5082" providerId="ADAL" clId="{3C60276A-09C8-4E7D-90A3-C0B3728A05EC}" dt="2025-06-13T11:18:07.390" v="4511" actId="20577"/>
        <pc:sldMkLst>
          <pc:docMk/>
          <pc:sldMk cId="2336586777" sldId="291"/>
        </pc:sldMkLst>
        <pc:spChg chg="mod">
          <ac:chgData name="Eveline van Drielen" userId="d402dffe-06a5-4224-a401-519138ee5082" providerId="ADAL" clId="{3C60276A-09C8-4E7D-90A3-C0B3728A05EC}" dt="2025-06-13T11:18:07.390" v="4511" actId="20577"/>
          <ac:spMkLst>
            <pc:docMk/>
            <pc:sldMk cId="2336586777" sldId="291"/>
            <ac:spMk id="57" creationId="{6189840A-674E-1182-65C7-A7C014F02347}"/>
          </ac:spMkLst>
        </pc:spChg>
      </pc:sldChg>
      <pc:sldChg chg="modSp mod">
        <pc:chgData name="Eveline van Drielen" userId="d402dffe-06a5-4224-a401-519138ee5082" providerId="ADAL" clId="{3C60276A-09C8-4E7D-90A3-C0B3728A05EC}" dt="2025-06-13T11:19:23.931" v="4561" actId="20577"/>
        <pc:sldMkLst>
          <pc:docMk/>
          <pc:sldMk cId="929390010" sldId="301"/>
        </pc:sldMkLst>
        <pc:spChg chg="mod">
          <ac:chgData name="Eveline van Drielen" userId="d402dffe-06a5-4224-a401-519138ee5082" providerId="ADAL" clId="{3C60276A-09C8-4E7D-90A3-C0B3728A05EC}" dt="2025-06-13T11:19:23.931" v="4561" actId="20577"/>
          <ac:spMkLst>
            <pc:docMk/>
            <pc:sldMk cId="929390010" sldId="301"/>
            <ac:spMk id="3" creationId="{51B2A419-3E41-4E59-57AB-A2BC5F18E52F}"/>
          </ac:spMkLst>
        </pc:spChg>
        <pc:picChg chg="mod">
          <ac:chgData name="Eveline van Drielen" userId="d402dffe-06a5-4224-a401-519138ee5082" providerId="ADAL" clId="{3C60276A-09C8-4E7D-90A3-C0B3728A05EC}" dt="2025-06-13T11:19:15.958" v="4513" actId="14100"/>
          <ac:picMkLst>
            <pc:docMk/>
            <pc:sldMk cId="929390010" sldId="301"/>
            <ac:picMk id="5" creationId="{12532A90-ADB6-F5EB-6F3D-1DD00878B92E}"/>
          </ac:picMkLst>
        </pc:picChg>
      </pc:sldChg>
      <pc:sldChg chg="ord">
        <pc:chgData name="Eveline van Drielen" userId="d402dffe-06a5-4224-a401-519138ee5082" providerId="ADAL" clId="{3C60276A-09C8-4E7D-90A3-C0B3728A05EC}" dt="2025-06-04T14:21:22.704" v="1161"/>
        <pc:sldMkLst>
          <pc:docMk/>
          <pc:sldMk cId="449896087" sldId="344"/>
        </pc:sldMkLst>
      </pc:sldChg>
      <pc:sldChg chg="modSp add mod">
        <pc:chgData name="Eveline van Drielen" userId="d402dffe-06a5-4224-a401-519138ee5082" providerId="ADAL" clId="{3C60276A-09C8-4E7D-90A3-C0B3728A05EC}" dt="2025-06-13T11:16:43.909" v="4319" actId="20577"/>
        <pc:sldMkLst>
          <pc:docMk/>
          <pc:sldMk cId="175314024" sldId="357"/>
        </pc:sldMkLst>
        <pc:spChg chg="mod">
          <ac:chgData name="Eveline van Drielen" userId="d402dffe-06a5-4224-a401-519138ee5082" providerId="ADAL" clId="{3C60276A-09C8-4E7D-90A3-C0B3728A05EC}" dt="2025-06-13T11:16:43.909" v="4319" actId="20577"/>
          <ac:spMkLst>
            <pc:docMk/>
            <pc:sldMk cId="175314024" sldId="357"/>
            <ac:spMk id="12" creationId="{33A8D1DB-4397-09EF-A829-24A97CFD398A}"/>
          </ac:spMkLst>
        </pc:spChg>
      </pc:sldChg>
      <pc:sldChg chg="addSp delSp modSp del mod ord modNotesTx">
        <pc:chgData name="Eveline van Drielen" userId="d402dffe-06a5-4224-a401-519138ee5082" providerId="ADAL" clId="{3C60276A-09C8-4E7D-90A3-C0B3728A05EC}" dt="2025-06-13T11:20:50.559" v="4567" actId="47"/>
        <pc:sldMkLst>
          <pc:docMk/>
          <pc:sldMk cId="1232185973" sldId="359"/>
        </pc:sldMkLst>
      </pc:sldChg>
      <pc:sldChg chg="addSp delSp modSp add del mod">
        <pc:chgData name="Eveline van Drielen" userId="d402dffe-06a5-4224-a401-519138ee5082" providerId="ADAL" clId="{3C60276A-09C8-4E7D-90A3-C0B3728A05EC}" dt="2025-06-16T09:53:53.943" v="4789" actId="20577"/>
        <pc:sldMkLst>
          <pc:docMk/>
          <pc:sldMk cId="1658051717" sldId="360"/>
        </pc:sldMkLst>
        <pc:graphicFrameChg chg="mod modGraphic">
          <ac:chgData name="Eveline van Drielen" userId="d402dffe-06a5-4224-a401-519138ee5082" providerId="ADAL" clId="{3C60276A-09C8-4E7D-90A3-C0B3728A05EC}" dt="2025-06-16T09:53:53.943" v="4789" actId="20577"/>
          <ac:graphicFrameMkLst>
            <pc:docMk/>
            <pc:sldMk cId="1658051717" sldId="360"/>
            <ac:graphicFrameMk id="3" creationId="{817139EC-D615-61A7-7776-5BCCADC72CF0}"/>
          </ac:graphicFrameMkLst>
        </pc:graphicFrameChg>
      </pc:sldChg>
      <pc:sldChg chg="addSp modSp add del mod">
        <pc:chgData name="Eveline van Drielen" userId="d402dffe-06a5-4224-a401-519138ee5082" providerId="ADAL" clId="{3C60276A-09C8-4E7D-90A3-C0B3728A05EC}" dt="2025-06-13T11:33:40.356" v="4745" actId="1076"/>
        <pc:sldMkLst>
          <pc:docMk/>
          <pc:sldMk cId="1952510888" sldId="361"/>
        </pc:sldMkLst>
        <pc:picChg chg="add mod">
          <ac:chgData name="Eveline van Drielen" userId="d402dffe-06a5-4224-a401-519138ee5082" providerId="ADAL" clId="{3C60276A-09C8-4E7D-90A3-C0B3728A05EC}" dt="2025-06-13T11:33:40.356" v="4745" actId="1076"/>
          <ac:picMkLst>
            <pc:docMk/>
            <pc:sldMk cId="1952510888" sldId="361"/>
            <ac:picMk id="5" creationId="{2C1F80D7-DCBD-1E86-4BD6-F11E847EFDC3}"/>
          </ac:picMkLst>
        </pc:picChg>
      </pc:sldChg>
      <pc:sldChg chg="modSp add">
        <pc:chgData name="Eveline van Drielen" userId="d402dffe-06a5-4224-a401-519138ee5082" providerId="ADAL" clId="{3C60276A-09C8-4E7D-90A3-C0B3728A05EC}" dt="2025-06-13T11:21:11.001" v="4568" actId="478"/>
        <pc:sldMkLst>
          <pc:docMk/>
          <pc:sldMk cId="3818556369" sldId="362"/>
        </pc:sldMkLst>
        <pc:graphicFrameChg chg="mod">
          <ac:chgData name="Eveline van Drielen" userId="d402dffe-06a5-4224-a401-519138ee5082" providerId="ADAL" clId="{3C60276A-09C8-4E7D-90A3-C0B3728A05EC}" dt="2025-06-13T11:21:11.001" v="4568" actId="478"/>
          <ac:graphicFrameMkLst>
            <pc:docMk/>
            <pc:sldMk cId="3818556369" sldId="362"/>
            <ac:graphicFrameMk id="3" creationId="{2E2EE1CC-2CA8-AE39-AABE-92002F6C010B}"/>
          </ac:graphicFrameMkLst>
        </pc:graphicFrameChg>
      </pc:sldChg>
      <pc:sldChg chg="addSp modSp add">
        <pc:chgData name="Eveline van Drielen" userId="d402dffe-06a5-4224-a401-519138ee5082" providerId="ADAL" clId="{3C60276A-09C8-4E7D-90A3-C0B3728A05EC}" dt="2025-06-16T09:55:55.768" v="4900" actId="20577"/>
        <pc:sldMkLst>
          <pc:docMk/>
          <pc:sldMk cId="1055434460" sldId="363"/>
        </pc:sldMkLst>
        <pc:graphicFrameChg chg="mod">
          <ac:chgData name="Eveline van Drielen" userId="d402dffe-06a5-4224-a401-519138ee5082" providerId="ADAL" clId="{3C60276A-09C8-4E7D-90A3-C0B3728A05EC}" dt="2025-06-16T09:55:55.768" v="4900" actId="20577"/>
          <ac:graphicFrameMkLst>
            <pc:docMk/>
            <pc:sldMk cId="1055434460" sldId="363"/>
            <ac:graphicFrameMk id="3" creationId="{B03D0649-E89C-B126-A974-C0CE02F4C145}"/>
          </ac:graphicFrameMkLst>
        </pc:graphicFrameChg>
        <pc:picChg chg="add mod">
          <ac:chgData name="Eveline van Drielen" userId="d402dffe-06a5-4224-a401-519138ee5082" providerId="ADAL" clId="{3C60276A-09C8-4E7D-90A3-C0B3728A05EC}" dt="2025-06-13T11:32:20.863" v="4741" actId="1076"/>
          <ac:picMkLst>
            <pc:docMk/>
            <pc:sldMk cId="1055434460" sldId="363"/>
            <ac:picMk id="1026" creationId="{93298D07-BCD8-F1BF-7212-8855E11BA2FC}"/>
          </ac:picMkLst>
        </pc:picChg>
      </pc:sldChg>
      <pc:sldChg chg="modSp">
        <pc:chgData name="Eveline van Drielen" userId="d402dffe-06a5-4224-a401-519138ee5082" providerId="ADAL" clId="{3C60276A-09C8-4E7D-90A3-C0B3728A05EC}" dt="2025-06-16T07:47:52.219" v="4772" actId="20577"/>
        <pc:sldMkLst>
          <pc:docMk/>
          <pc:sldMk cId="1955152661" sldId="364"/>
        </pc:sldMkLst>
        <pc:graphicFrameChg chg="mod">
          <ac:chgData name="Eveline van Drielen" userId="d402dffe-06a5-4224-a401-519138ee5082" providerId="ADAL" clId="{3C60276A-09C8-4E7D-90A3-C0B3728A05EC}" dt="2025-06-16T07:47:52.219" v="4772" actId="20577"/>
          <ac:graphicFrameMkLst>
            <pc:docMk/>
            <pc:sldMk cId="1955152661" sldId="364"/>
            <ac:graphicFrameMk id="3" creationId="{87E07C37-81E9-78E9-E427-98EBC602D915}"/>
          </ac:graphicFrameMkLst>
        </pc:graphicFrameChg>
      </pc:sldChg>
      <pc:sldChg chg="modSp mod">
        <pc:chgData name="Eveline van Drielen" userId="d402dffe-06a5-4224-a401-519138ee5082" providerId="ADAL" clId="{3C60276A-09C8-4E7D-90A3-C0B3728A05EC}" dt="2025-06-04T11:51:05.683" v="98" actId="1076"/>
        <pc:sldMkLst>
          <pc:docMk/>
          <pc:sldMk cId="2588786874" sldId="366"/>
        </pc:sldMkLst>
        <pc:spChg chg="mod">
          <ac:chgData name="Eveline van Drielen" userId="d402dffe-06a5-4224-a401-519138ee5082" providerId="ADAL" clId="{3C60276A-09C8-4E7D-90A3-C0B3728A05EC}" dt="2025-06-04T11:50:53.267" v="97" actId="27636"/>
          <ac:spMkLst>
            <pc:docMk/>
            <pc:sldMk cId="2588786874" sldId="366"/>
            <ac:spMk id="9" creationId="{32F5E22B-02E4-4B64-BA78-C67D4FC4E863}"/>
          </ac:spMkLst>
        </pc:spChg>
        <pc:picChg chg="mod">
          <ac:chgData name="Eveline van Drielen" userId="d402dffe-06a5-4224-a401-519138ee5082" providerId="ADAL" clId="{3C60276A-09C8-4E7D-90A3-C0B3728A05EC}" dt="2025-06-04T11:51:05.683" v="98" actId="1076"/>
          <ac:picMkLst>
            <pc:docMk/>
            <pc:sldMk cId="2588786874" sldId="366"/>
            <ac:picMk id="12" creationId="{780EC484-92B0-2279-69C6-5D2898B77BE2}"/>
          </ac:picMkLst>
        </pc:picChg>
      </pc:sldChg>
      <pc:sldChg chg="modSp add mod">
        <pc:chgData name="Eveline van Drielen" userId="d402dffe-06a5-4224-a401-519138ee5082" providerId="ADAL" clId="{3C60276A-09C8-4E7D-90A3-C0B3728A05EC}" dt="2025-06-04T14:25:26.771" v="1173" actId="20577"/>
        <pc:sldMkLst>
          <pc:docMk/>
          <pc:sldMk cId="1406440865" sldId="367"/>
        </pc:sldMkLst>
        <pc:spChg chg="mod">
          <ac:chgData name="Eveline van Drielen" userId="d402dffe-06a5-4224-a401-519138ee5082" providerId="ADAL" clId="{3C60276A-09C8-4E7D-90A3-C0B3728A05EC}" dt="2025-06-04T14:25:26.771" v="1173" actId="20577"/>
          <ac:spMkLst>
            <pc:docMk/>
            <pc:sldMk cId="1406440865" sldId="367"/>
            <ac:spMk id="8" creationId="{134D5210-2558-F89F-4B26-5E60ECEE5986}"/>
          </ac:spMkLst>
        </pc:spChg>
      </pc:sldChg>
      <pc:sldChg chg="modSp mod">
        <pc:chgData name="Eveline van Drielen" userId="d402dffe-06a5-4224-a401-519138ee5082" providerId="ADAL" clId="{3C60276A-09C8-4E7D-90A3-C0B3728A05EC}" dt="2025-06-04T14:25:20.517" v="1172" actId="20577"/>
        <pc:sldMkLst>
          <pc:docMk/>
          <pc:sldMk cId="1270844285" sldId="369"/>
        </pc:sldMkLst>
        <pc:spChg chg="mod">
          <ac:chgData name="Eveline van Drielen" userId="d402dffe-06a5-4224-a401-519138ee5082" providerId="ADAL" clId="{3C60276A-09C8-4E7D-90A3-C0B3728A05EC}" dt="2025-06-04T14:25:20.517" v="1172" actId="20577"/>
          <ac:spMkLst>
            <pc:docMk/>
            <pc:sldMk cId="1270844285" sldId="369"/>
            <ac:spMk id="2" creationId="{5B8FB745-F37C-C156-3CBC-2C967C964E49}"/>
          </ac:spMkLst>
        </pc:spChg>
      </pc:sldChg>
      <pc:sldChg chg="ord">
        <pc:chgData name="Eveline van Drielen" userId="d402dffe-06a5-4224-a401-519138ee5082" providerId="ADAL" clId="{3C60276A-09C8-4E7D-90A3-C0B3728A05EC}" dt="2025-06-04T14:21:20.316" v="1159"/>
        <pc:sldMkLst>
          <pc:docMk/>
          <pc:sldMk cId="2413858247" sldId="377"/>
        </pc:sldMkLst>
      </pc:sldChg>
      <pc:sldChg chg="add del modNotesTx">
        <pc:chgData name="Eveline van Drielen" userId="d402dffe-06a5-4224-a401-519138ee5082" providerId="ADAL" clId="{3C60276A-09C8-4E7D-90A3-C0B3728A05EC}" dt="2025-06-13T11:18:13.547" v="4512" actId="47"/>
        <pc:sldMkLst>
          <pc:docMk/>
          <pc:sldMk cId="4118645418" sldId="379"/>
        </pc:sldMkLst>
      </pc:sldChg>
      <pc:sldChg chg="addSp delSp modSp add del mod ord">
        <pc:chgData name="Eveline van Drielen" userId="d402dffe-06a5-4224-a401-519138ee5082" providerId="ADAL" clId="{3C60276A-09C8-4E7D-90A3-C0B3728A05EC}" dt="2025-06-04T14:45:40.365" v="2400" actId="47"/>
        <pc:sldMkLst>
          <pc:docMk/>
          <pc:sldMk cId="2362074716" sldId="380"/>
        </pc:sldMkLst>
      </pc:sldChg>
      <pc:sldChg chg="add del">
        <pc:chgData name="Eveline van Drielen" userId="d402dffe-06a5-4224-a401-519138ee5082" providerId="ADAL" clId="{3C60276A-09C8-4E7D-90A3-C0B3728A05EC}" dt="2025-06-04T13:10:39.587" v="118" actId="47"/>
        <pc:sldMkLst>
          <pc:docMk/>
          <pc:sldMk cId="2084990273" sldId="381"/>
        </pc:sldMkLst>
      </pc:sldChg>
      <pc:sldChg chg="addSp delSp modSp add mod">
        <pc:chgData name="Eveline van Drielen" userId="d402dffe-06a5-4224-a401-519138ee5082" providerId="ADAL" clId="{3C60276A-09C8-4E7D-90A3-C0B3728A05EC}" dt="2025-06-04T13:15:34.936" v="175" actId="20577"/>
        <pc:sldMkLst>
          <pc:docMk/>
          <pc:sldMk cId="2831833897" sldId="381"/>
        </pc:sldMkLst>
        <pc:spChg chg="mod">
          <ac:chgData name="Eveline van Drielen" userId="d402dffe-06a5-4224-a401-519138ee5082" providerId="ADAL" clId="{3C60276A-09C8-4E7D-90A3-C0B3728A05EC}" dt="2025-06-04T13:10:55.957" v="129" actId="20577"/>
          <ac:spMkLst>
            <pc:docMk/>
            <pc:sldMk cId="2831833897" sldId="381"/>
            <ac:spMk id="2" creationId="{0F550E28-724C-A720-C4D7-22C77EBE592A}"/>
          </ac:spMkLst>
        </pc:spChg>
        <pc:spChg chg="add mod">
          <ac:chgData name="Eveline van Drielen" userId="d402dffe-06a5-4224-a401-519138ee5082" providerId="ADAL" clId="{3C60276A-09C8-4E7D-90A3-C0B3728A05EC}" dt="2025-06-04T13:15:34.936" v="175" actId="20577"/>
          <ac:spMkLst>
            <pc:docMk/>
            <pc:sldMk cId="2831833897" sldId="381"/>
            <ac:spMk id="4" creationId="{A0F7ADC7-7F35-5FDA-B428-8767A64E7939}"/>
          </ac:spMkLst>
        </pc:spChg>
      </pc:sldChg>
      <pc:sldChg chg="delSp modSp add mod">
        <pc:chgData name="Eveline van Drielen" userId="d402dffe-06a5-4224-a401-519138ee5082" providerId="ADAL" clId="{3C60276A-09C8-4E7D-90A3-C0B3728A05EC}" dt="2025-06-04T13:15:06.707" v="172" actId="14100"/>
        <pc:sldMkLst>
          <pc:docMk/>
          <pc:sldMk cId="111453891" sldId="382"/>
        </pc:sldMkLst>
        <pc:spChg chg="mod">
          <ac:chgData name="Eveline van Drielen" userId="d402dffe-06a5-4224-a401-519138ee5082" providerId="ADAL" clId="{3C60276A-09C8-4E7D-90A3-C0B3728A05EC}" dt="2025-06-04T13:12:39.852" v="149" actId="20577"/>
          <ac:spMkLst>
            <pc:docMk/>
            <pc:sldMk cId="111453891" sldId="382"/>
            <ac:spMk id="2" creationId="{990913D1-CF88-8A9C-D08C-33DCE7A21A3F}"/>
          </ac:spMkLst>
        </pc:spChg>
        <pc:spChg chg="mod">
          <ac:chgData name="Eveline van Drielen" userId="d402dffe-06a5-4224-a401-519138ee5082" providerId="ADAL" clId="{3C60276A-09C8-4E7D-90A3-C0B3728A05EC}" dt="2025-06-04T13:15:06.707" v="172" actId="14100"/>
          <ac:spMkLst>
            <pc:docMk/>
            <pc:sldMk cId="111453891" sldId="382"/>
            <ac:spMk id="4" creationId="{C504F5BC-3335-B50F-4EF6-D8C96F962B99}"/>
          </ac:spMkLst>
        </pc:spChg>
      </pc:sldChg>
      <pc:sldChg chg="add del">
        <pc:chgData name="Eveline van Drielen" userId="d402dffe-06a5-4224-a401-519138ee5082" providerId="ADAL" clId="{3C60276A-09C8-4E7D-90A3-C0B3728A05EC}" dt="2025-06-04T13:11:05.939" v="133" actId="47"/>
        <pc:sldMkLst>
          <pc:docMk/>
          <pc:sldMk cId="1889963798" sldId="382"/>
        </pc:sldMkLst>
      </pc:sldChg>
      <pc:sldChg chg="modSp add mod">
        <pc:chgData name="Eveline van Drielen" userId="d402dffe-06a5-4224-a401-519138ee5082" providerId="ADAL" clId="{3C60276A-09C8-4E7D-90A3-C0B3728A05EC}" dt="2025-06-11T08:09:38.730" v="2585" actId="790"/>
        <pc:sldMkLst>
          <pc:docMk/>
          <pc:sldMk cId="1449244481" sldId="383"/>
        </pc:sldMkLst>
        <pc:spChg chg="mod">
          <ac:chgData name="Eveline van Drielen" userId="d402dffe-06a5-4224-a401-519138ee5082" providerId="ADAL" clId="{3C60276A-09C8-4E7D-90A3-C0B3728A05EC}" dt="2025-06-04T13:16:20.357" v="190" actId="20577"/>
          <ac:spMkLst>
            <pc:docMk/>
            <pc:sldMk cId="1449244481" sldId="383"/>
            <ac:spMk id="2" creationId="{7C8D0014-2BB2-5328-7D8F-27A6DBEB4674}"/>
          </ac:spMkLst>
        </pc:spChg>
        <pc:graphicFrameChg chg="mod modGraphic">
          <ac:chgData name="Eveline van Drielen" userId="d402dffe-06a5-4224-a401-519138ee5082" providerId="ADAL" clId="{3C60276A-09C8-4E7D-90A3-C0B3728A05EC}" dt="2025-06-11T08:09:38.730" v="2585" actId="790"/>
          <ac:graphicFrameMkLst>
            <pc:docMk/>
            <pc:sldMk cId="1449244481" sldId="383"/>
            <ac:graphicFrameMk id="3" creationId="{3F5D3C50-6610-74E7-6681-732CDF0F81A5}"/>
          </ac:graphicFrameMkLst>
        </pc:graphicFrameChg>
      </pc:sldChg>
      <pc:sldChg chg="modSp add mod modCm modNotesTx">
        <pc:chgData name="Eveline van Drielen" userId="d402dffe-06a5-4224-a401-519138ee5082" providerId="ADAL" clId="{3C60276A-09C8-4E7D-90A3-C0B3728A05EC}" dt="2025-06-16T10:04:16.970" v="4949" actId="5793"/>
        <pc:sldMkLst>
          <pc:docMk/>
          <pc:sldMk cId="1640611956" sldId="384"/>
        </pc:sldMkLst>
        <pc:spChg chg="mod">
          <ac:chgData name="Eveline van Drielen" userId="d402dffe-06a5-4224-a401-519138ee5082" providerId="ADAL" clId="{3C60276A-09C8-4E7D-90A3-C0B3728A05EC}" dt="2025-06-04T14:37:45.665" v="1706" actId="20577"/>
          <ac:spMkLst>
            <pc:docMk/>
            <pc:sldMk cId="1640611956" sldId="384"/>
            <ac:spMk id="2" creationId="{CC8DE365-A1CA-3ED6-F4F2-7BED38522C86}"/>
          </ac:spMkLst>
        </pc:spChg>
        <pc:spChg chg="mod">
          <ac:chgData name="Eveline van Drielen" userId="d402dffe-06a5-4224-a401-519138ee5082" providerId="ADAL" clId="{3C60276A-09C8-4E7D-90A3-C0B3728A05EC}" dt="2025-06-16T10:04:16.970" v="4949" actId="5793"/>
          <ac:spMkLst>
            <pc:docMk/>
            <pc:sldMk cId="1640611956" sldId="384"/>
            <ac:spMk id="4" creationId="{FF1FD81E-5F2E-0F8D-BAC0-F4556047F689}"/>
          </ac:spMkLst>
        </pc:spChg>
        <pc:extLst>
          <p:ext xmlns:p="http://schemas.openxmlformats.org/presentationml/2006/main" uri="{D6D511B9-2390-475A-947B-AFAB55BFBCF1}">
            <pc226:cmChg xmlns:pc226="http://schemas.microsoft.com/office/powerpoint/2022/06/main/command" chg="mod">
              <pc226:chgData name="Eveline van Drielen" userId="d402dffe-06a5-4224-a401-519138ee5082" providerId="ADAL" clId="{3C60276A-09C8-4E7D-90A3-C0B3728A05EC}" dt="2025-06-16T09:59:52.290" v="4939" actId="20577"/>
              <pc2:cmMkLst xmlns:pc2="http://schemas.microsoft.com/office/powerpoint/2019/9/main/command">
                <pc:docMk/>
                <pc:sldMk cId="1640611956" sldId="384"/>
                <pc2:cmMk id="{504A73EE-AED1-4079-A336-CE2629E91B59}"/>
              </pc2:cmMkLst>
            </pc226:cmChg>
          </p:ext>
        </pc:extLst>
      </pc:sldChg>
      <pc:sldChg chg="add del">
        <pc:chgData name="Eveline van Drielen" userId="d402dffe-06a5-4224-a401-519138ee5082" providerId="ADAL" clId="{3C60276A-09C8-4E7D-90A3-C0B3728A05EC}" dt="2025-06-04T14:23:05.173" v="1165" actId="47"/>
        <pc:sldMkLst>
          <pc:docMk/>
          <pc:sldMk cId="3955302005" sldId="384"/>
        </pc:sldMkLst>
      </pc:sldChg>
      <pc:sldChg chg="add del">
        <pc:chgData name="Eveline van Drielen" userId="d402dffe-06a5-4224-a401-519138ee5082" providerId="ADAL" clId="{3C60276A-09C8-4E7D-90A3-C0B3728A05EC}" dt="2025-06-04T14:26:38.718" v="1275" actId="47"/>
        <pc:sldMkLst>
          <pc:docMk/>
          <pc:sldMk cId="1753753661" sldId="385"/>
        </pc:sldMkLst>
      </pc:sldChg>
      <pc:sldChg chg="modSp add del mod">
        <pc:chgData name="Eveline van Drielen" userId="d402dffe-06a5-4224-a401-519138ee5082" providerId="ADAL" clId="{3C60276A-09C8-4E7D-90A3-C0B3728A05EC}" dt="2025-06-16T10:03:57.776" v="4947" actId="47"/>
        <pc:sldMkLst>
          <pc:docMk/>
          <pc:sldMk cId="2855214312" sldId="385"/>
        </pc:sldMkLst>
        <pc:spChg chg="mod">
          <ac:chgData name="Eveline van Drielen" userId="d402dffe-06a5-4224-a401-519138ee5082" providerId="ADAL" clId="{3C60276A-09C8-4E7D-90A3-C0B3728A05EC}" dt="2025-06-12T10:16:03.635" v="4064" actId="6549"/>
          <ac:spMkLst>
            <pc:docMk/>
            <pc:sldMk cId="2855214312" sldId="385"/>
            <ac:spMk id="4" creationId="{0C81CB1C-9796-C656-ECA3-2D02D1E8B409}"/>
          </ac:spMkLst>
        </pc:spChg>
      </pc:sldChg>
      <pc:sldChg chg="addSp modSp add mod">
        <pc:chgData name="Eveline van Drielen" userId="d402dffe-06a5-4224-a401-519138ee5082" providerId="ADAL" clId="{3C60276A-09C8-4E7D-90A3-C0B3728A05EC}" dt="2025-06-13T11:37:25.541" v="4771" actId="1076"/>
        <pc:sldMkLst>
          <pc:docMk/>
          <pc:sldMk cId="1863458825" sldId="386"/>
        </pc:sldMkLst>
        <pc:graphicFrameChg chg="mod">
          <ac:chgData name="Eveline van Drielen" userId="d402dffe-06a5-4224-a401-519138ee5082" providerId="ADAL" clId="{3C60276A-09C8-4E7D-90A3-C0B3728A05EC}" dt="2025-06-13T11:37:20.371" v="4769" actId="1076"/>
          <ac:graphicFrameMkLst>
            <pc:docMk/>
            <pc:sldMk cId="1863458825" sldId="386"/>
            <ac:graphicFrameMk id="3" creationId="{E609A96A-6EA3-C8FB-D869-9F7DA6F371CE}"/>
          </ac:graphicFrameMkLst>
        </pc:graphicFrameChg>
        <pc:picChg chg="add mod">
          <ac:chgData name="Eveline van Drielen" userId="d402dffe-06a5-4224-a401-519138ee5082" providerId="ADAL" clId="{3C60276A-09C8-4E7D-90A3-C0B3728A05EC}" dt="2025-06-13T11:37:25.541" v="4771" actId="1076"/>
          <ac:picMkLst>
            <pc:docMk/>
            <pc:sldMk cId="1863458825" sldId="386"/>
            <ac:picMk id="4" creationId="{FEFB5B16-6925-C868-8515-12464347E8AF}"/>
          </ac:picMkLst>
        </pc:picChg>
      </pc:sldChg>
    </pc:docChg>
  </pc:docChgLst>
  <pc:docChgLst>
    <pc:chgData name="Eveline van Drielen" userId="S::e.vandrielen@pznl.nl::d402dffe-06a5-4224-a401-519138ee5082" providerId="AD" clId="Web-{8C8E5607-9CAA-83FF-D1C9-EC892E789EC9}"/>
    <pc:docChg chg="delSld modSld sldOrd">
      <pc:chgData name="Eveline van Drielen" userId="S::e.vandrielen@pznl.nl::d402dffe-06a5-4224-a401-519138ee5082" providerId="AD" clId="Web-{8C8E5607-9CAA-83FF-D1C9-EC892E789EC9}" dt="2025-06-10T11:27:30.645" v="88" actId="20577"/>
      <pc:docMkLst>
        <pc:docMk/>
      </pc:docMkLst>
      <pc:sldChg chg="del">
        <pc:chgData name="Eveline van Drielen" userId="S::e.vandrielen@pznl.nl::d402dffe-06a5-4224-a401-519138ee5082" providerId="AD" clId="Web-{8C8E5607-9CAA-83FF-D1C9-EC892E789EC9}" dt="2025-06-10T11:07:10.718" v="0"/>
        <pc:sldMkLst>
          <pc:docMk/>
          <pc:sldMk cId="3818556369" sldId="362"/>
        </pc:sldMkLst>
      </pc:sldChg>
      <pc:sldChg chg="del">
        <pc:chgData name="Eveline van Drielen" userId="S::e.vandrielen@pznl.nl::d402dffe-06a5-4224-a401-519138ee5082" providerId="AD" clId="Web-{8C8E5607-9CAA-83FF-D1C9-EC892E789EC9}" dt="2025-06-10T11:07:11.202" v="1"/>
        <pc:sldMkLst>
          <pc:docMk/>
          <pc:sldMk cId="1055434460" sldId="363"/>
        </pc:sldMkLst>
      </pc:sldChg>
      <pc:sldChg chg="modSp ord">
        <pc:chgData name="Eveline van Drielen" userId="S::e.vandrielen@pznl.nl::d402dffe-06a5-4224-a401-519138ee5082" providerId="AD" clId="Web-{8C8E5607-9CAA-83FF-D1C9-EC892E789EC9}" dt="2025-06-10T11:14:41.575" v="4"/>
        <pc:sldMkLst>
          <pc:docMk/>
          <pc:sldMk cId="1449244481" sldId="383"/>
        </pc:sldMkLst>
        <pc:spChg chg="mod">
          <ac:chgData name="Eveline van Drielen" userId="S::e.vandrielen@pznl.nl::d402dffe-06a5-4224-a401-519138ee5082" providerId="AD" clId="Web-{8C8E5607-9CAA-83FF-D1C9-EC892E789EC9}" dt="2025-06-10T11:13:39.948" v="3" actId="20577"/>
          <ac:spMkLst>
            <pc:docMk/>
            <pc:sldMk cId="1449244481" sldId="383"/>
            <ac:spMk id="2" creationId="{7C8D0014-2BB2-5328-7D8F-27A6DBEB4674}"/>
          </ac:spMkLst>
        </pc:spChg>
      </pc:sldChg>
      <pc:sldChg chg="modSp">
        <pc:chgData name="Eveline van Drielen" userId="S::e.vandrielen@pznl.nl::d402dffe-06a5-4224-a401-519138ee5082" providerId="AD" clId="Web-{8C8E5607-9CAA-83FF-D1C9-EC892E789EC9}" dt="2025-06-10T11:27:30.645" v="88" actId="20577"/>
        <pc:sldMkLst>
          <pc:docMk/>
          <pc:sldMk cId="1640611956" sldId="384"/>
        </pc:sldMkLst>
        <pc:spChg chg="mod">
          <ac:chgData name="Eveline van Drielen" userId="S::e.vandrielen@pznl.nl::d402dffe-06a5-4224-a401-519138ee5082" providerId="AD" clId="Web-{8C8E5607-9CAA-83FF-D1C9-EC892E789EC9}" dt="2025-06-10T11:27:30.645" v="88" actId="20577"/>
          <ac:spMkLst>
            <pc:docMk/>
            <pc:sldMk cId="1640611956" sldId="384"/>
            <ac:spMk id="4" creationId="{FF1FD81E-5F2E-0F8D-BAC0-F4556047F689}"/>
          </ac:spMkLst>
        </pc:spChg>
      </pc:sldChg>
    </pc:docChg>
  </pc:docChgLst>
  <pc:docChgLst>
    <pc:chgData name="Henk-Jan de Winter" userId="S::h.dewinter@pznl.nl::c1f23858-4ba2-47c9-810d-b93f9871d62a" providerId="AD" clId="Web-{D3108EBE-DC06-4E48-A765-567F8944BCFD}"/>
    <pc:docChg chg="modSld">
      <pc:chgData name="Henk-Jan de Winter" userId="S::h.dewinter@pznl.nl::c1f23858-4ba2-47c9-810d-b93f9871d62a" providerId="AD" clId="Web-{D3108EBE-DC06-4E48-A765-567F8944BCFD}" dt="2025-06-10T11:37:48.656" v="569" actId="20577"/>
      <pc:docMkLst>
        <pc:docMk/>
      </pc:docMkLst>
      <pc:sldChg chg="modSp">
        <pc:chgData name="Henk-Jan de Winter" userId="S::h.dewinter@pznl.nl::c1f23858-4ba2-47c9-810d-b93f9871d62a" providerId="AD" clId="Web-{D3108EBE-DC06-4E48-A765-567F8944BCFD}" dt="2025-06-10T11:15:08.231" v="1" actId="20577"/>
        <pc:sldMkLst>
          <pc:docMk/>
          <pc:sldMk cId="1449244481" sldId="383"/>
        </pc:sldMkLst>
        <pc:graphicFrameChg chg="modGraphic">
          <ac:chgData name="Henk-Jan de Winter" userId="S::h.dewinter@pznl.nl::c1f23858-4ba2-47c9-810d-b93f9871d62a" providerId="AD" clId="Web-{D3108EBE-DC06-4E48-A765-567F8944BCFD}" dt="2025-06-10T11:15:08.231" v="1" actId="20577"/>
          <ac:graphicFrameMkLst>
            <pc:docMk/>
            <pc:sldMk cId="1449244481" sldId="383"/>
            <ac:graphicFrameMk id="3" creationId="{3F5D3C50-6610-74E7-6681-732CDF0F81A5}"/>
          </ac:graphicFrameMkLst>
        </pc:graphicFrameChg>
      </pc:sldChg>
      <pc:sldChg chg="modSp">
        <pc:chgData name="Henk-Jan de Winter" userId="S::h.dewinter@pznl.nl::c1f23858-4ba2-47c9-810d-b93f9871d62a" providerId="AD" clId="Web-{D3108EBE-DC06-4E48-A765-567F8944BCFD}" dt="2025-06-10T11:37:48.656" v="569" actId="20577"/>
        <pc:sldMkLst>
          <pc:docMk/>
          <pc:sldMk cId="1640611956" sldId="384"/>
        </pc:sldMkLst>
        <pc:spChg chg="mod">
          <ac:chgData name="Henk-Jan de Winter" userId="S::h.dewinter@pznl.nl::c1f23858-4ba2-47c9-810d-b93f9871d62a" providerId="AD" clId="Web-{D3108EBE-DC06-4E48-A765-567F8944BCFD}" dt="2025-06-10T11:37:48.656" v="569" actId="20577"/>
          <ac:spMkLst>
            <pc:docMk/>
            <pc:sldMk cId="1640611956" sldId="384"/>
            <ac:spMk id="4" creationId="{FF1FD81E-5F2E-0F8D-BAC0-F4556047F68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ED89C8-CC09-4125-B803-D79181D4DA0B}"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US"/>
        </a:p>
      </dgm:t>
    </dgm:pt>
    <dgm:pt modelId="{8B69E0E0-A459-4E00-8929-2E839F764372}">
      <dgm:prSet/>
      <dgm:spPr/>
      <dgm:t>
        <a:bodyPr/>
        <a:lstStyle/>
        <a:p>
          <a:r>
            <a:rPr lang="nl-NL"/>
            <a:t>Presentatie uitkomsten vragenlijsten en kerncijfers</a:t>
          </a:r>
          <a:endParaRPr lang="en-US"/>
        </a:p>
      </dgm:t>
    </dgm:pt>
    <dgm:pt modelId="{F63B65DF-8C69-4059-A62A-B405917FC47D}" type="parTrans" cxnId="{6080DD68-5D91-457F-ACFD-999992D84C3C}">
      <dgm:prSet/>
      <dgm:spPr/>
      <dgm:t>
        <a:bodyPr/>
        <a:lstStyle/>
        <a:p>
          <a:endParaRPr lang="en-US"/>
        </a:p>
      </dgm:t>
    </dgm:pt>
    <dgm:pt modelId="{52B0C831-04B6-4227-83BB-E311A8E093EB}" type="sibTrans" cxnId="{6080DD68-5D91-457F-ACFD-999992D84C3C}">
      <dgm:prSet/>
      <dgm:spPr/>
      <dgm:t>
        <a:bodyPr/>
        <a:lstStyle/>
        <a:p>
          <a:endParaRPr lang="en-US"/>
        </a:p>
      </dgm:t>
    </dgm:pt>
    <dgm:pt modelId="{56FCE0C2-13C4-4D30-919B-CE10EEA2DC78}">
      <dgm:prSet/>
      <dgm:spPr/>
      <dgm:t>
        <a:bodyPr/>
        <a:lstStyle/>
        <a:p>
          <a:r>
            <a:rPr lang="nl-NL"/>
            <a:t>Algemeen</a:t>
          </a:r>
          <a:endParaRPr lang="en-US"/>
        </a:p>
      </dgm:t>
    </dgm:pt>
    <dgm:pt modelId="{DA0C7072-6B3F-446A-8E80-3671C27A4104}" type="parTrans" cxnId="{6CC79EFF-E5D2-4C2D-B55F-5FA1EA27ACC2}">
      <dgm:prSet/>
      <dgm:spPr/>
      <dgm:t>
        <a:bodyPr/>
        <a:lstStyle/>
        <a:p>
          <a:endParaRPr lang="en-US"/>
        </a:p>
      </dgm:t>
    </dgm:pt>
    <dgm:pt modelId="{0293A7B1-149A-447B-B876-D5A891CC43D9}" type="sibTrans" cxnId="{6CC79EFF-E5D2-4C2D-B55F-5FA1EA27ACC2}">
      <dgm:prSet/>
      <dgm:spPr/>
      <dgm:t>
        <a:bodyPr/>
        <a:lstStyle/>
        <a:p>
          <a:endParaRPr lang="en-US"/>
        </a:p>
      </dgm:t>
    </dgm:pt>
    <dgm:pt modelId="{53B80DF5-3F97-410F-B2A4-3B0E5673B04C}">
      <dgm:prSet/>
      <dgm:spPr/>
      <dgm:t>
        <a:bodyPr/>
        <a:lstStyle/>
        <a:p>
          <a:r>
            <a:rPr lang="nl-NL"/>
            <a:t>Samenwerking</a:t>
          </a:r>
          <a:endParaRPr lang="en-US"/>
        </a:p>
      </dgm:t>
    </dgm:pt>
    <dgm:pt modelId="{023BF151-849A-4D3F-8273-062DEB500AA3}" type="parTrans" cxnId="{D66ACF87-B8FB-42A6-B036-3C810A2E7BDE}">
      <dgm:prSet/>
      <dgm:spPr/>
      <dgm:t>
        <a:bodyPr/>
        <a:lstStyle/>
        <a:p>
          <a:endParaRPr lang="en-US"/>
        </a:p>
      </dgm:t>
    </dgm:pt>
    <dgm:pt modelId="{2E45DE9D-55D2-44A3-91D9-6A7F3F29E9F6}" type="sibTrans" cxnId="{D66ACF87-B8FB-42A6-B036-3C810A2E7BDE}">
      <dgm:prSet/>
      <dgm:spPr/>
      <dgm:t>
        <a:bodyPr/>
        <a:lstStyle/>
        <a:p>
          <a:endParaRPr lang="en-US"/>
        </a:p>
      </dgm:t>
    </dgm:pt>
    <dgm:pt modelId="{886532D1-1D85-4DD4-91D3-624FC6605367}">
      <dgm:prSet/>
      <dgm:spPr/>
      <dgm:t>
        <a:bodyPr/>
        <a:lstStyle/>
        <a:p>
          <a:r>
            <a:rPr lang="nl-NL"/>
            <a:t>Implementatie Kwaliteitskader</a:t>
          </a:r>
          <a:endParaRPr lang="en-US"/>
        </a:p>
      </dgm:t>
    </dgm:pt>
    <dgm:pt modelId="{E045B94C-85CD-4A0C-9B25-16B3ECA5849C}" type="parTrans" cxnId="{99BC12F4-92D2-4B3A-8DE7-389A0784711E}">
      <dgm:prSet/>
      <dgm:spPr/>
      <dgm:t>
        <a:bodyPr/>
        <a:lstStyle/>
        <a:p>
          <a:endParaRPr lang="en-US"/>
        </a:p>
      </dgm:t>
    </dgm:pt>
    <dgm:pt modelId="{62B93C38-DB06-4A81-B252-09D46655B250}" type="sibTrans" cxnId="{99BC12F4-92D2-4B3A-8DE7-389A0784711E}">
      <dgm:prSet/>
      <dgm:spPr/>
      <dgm:t>
        <a:bodyPr/>
        <a:lstStyle/>
        <a:p>
          <a:endParaRPr lang="en-US"/>
        </a:p>
      </dgm:t>
    </dgm:pt>
    <dgm:pt modelId="{92CAE53F-21B3-417D-BC37-22CCA2E0679B}">
      <dgm:prSet/>
      <dgm:spPr/>
      <dgm:t>
        <a:bodyPr/>
        <a:lstStyle/>
        <a:p>
          <a:r>
            <a:rPr lang="nl-NL"/>
            <a:t>Bespreekpunten</a:t>
          </a:r>
          <a:endParaRPr lang="en-US"/>
        </a:p>
      </dgm:t>
    </dgm:pt>
    <dgm:pt modelId="{F01EE809-366B-4779-A336-EB12CA53F8BE}" type="parTrans" cxnId="{211EFFD2-E94E-4000-9EF9-7CE9C22E2DC1}">
      <dgm:prSet/>
      <dgm:spPr/>
      <dgm:t>
        <a:bodyPr/>
        <a:lstStyle/>
        <a:p>
          <a:endParaRPr lang="en-US"/>
        </a:p>
      </dgm:t>
    </dgm:pt>
    <dgm:pt modelId="{BE0EE1C2-AA21-4BE2-A531-DBC5C1FB8AB5}" type="sibTrans" cxnId="{211EFFD2-E94E-4000-9EF9-7CE9C22E2DC1}">
      <dgm:prSet/>
      <dgm:spPr/>
      <dgm:t>
        <a:bodyPr/>
        <a:lstStyle/>
        <a:p>
          <a:endParaRPr lang="en-US"/>
        </a:p>
      </dgm:t>
    </dgm:pt>
    <dgm:pt modelId="{88BD4341-17B7-46D9-A96A-D916D78D15D0}">
      <dgm:prSet custT="1"/>
      <dgm:spPr/>
      <dgm:t>
        <a:bodyPr/>
        <a:lstStyle/>
        <a:p>
          <a:r>
            <a:rPr lang="nl-NL" sz="1800" noProof="0"/>
            <a:t>Wordt het beeld herkend?</a:t>
          </a:r>
        </a:p>
      </dgm:t>
    </dgm:pt>
    <dgm:pt modelId="{C403C9C0-80C5-41D1-A930-8EBB4B9F352E}" type="parTrans" cxnId="{CC541A56-E5CB-4A21-959B-83D8D8CB0AAA}">
      <dgm:prSet/>
      <dgm:spPr/>
      <dgm:t>
        <a:bodyPr/>
        <a:lstStyle/>
        <a:p>
          <a:endParaRPr lang="en-US"/>
        </a:p>
      </dgm:t>
    </dgm:pt>
    <dgm:pt modelId="{1E1F3D4F-28FD-4F4D-88F4-0E5917BC530C}" type="sibTrans" cxnId="{CC541A56-E5CB-4A21-959B-83D8D8CB0AAA}">
      <dgm:prSet/>
      <dgm:spPr/>
      <dgm:t>
        <a:bodyPr/>
        <a:lstStyle/>
        <a:p>
          <a:endParaRPr lang="en-US"/>
        </a:p>
      </dgm:t>
    </dgm:pt>
    <dgm:pt modelId="{56AF0135-5660-4C09-93B9-CD9950B33295}">
      <dgm:prSet/>
      <dgm:spPr/>
      <dgm:t>
        <a:bodyPr/>
        <a:lstStyle/>
        <a:p>
          <a:r>
            <a:rPr lang="en-US" err="1"/>
            <a:t>Kerncijfers</a:t>
          </a:r>
          <a:endParaRPr lang="en-US"/>
        </a:p>
      </dgm:t>
    </dgm:pt>
    <dgm:pt modelId="{A4528882-2ACE-4AD8-AA2C-1B4FC1102B6F}" type="parTrans" cxnId="{A84D0A2F-720B-491C-A2D8-DF16A0DDAF7C}">
      <dgm:prSet/>
      <dgm:spPr/>
      <dgm:t>
        <a:bodyPr/>
        <a:lstStyle/>
        <a:p>
          <a:endParaRPr lang="nl-NL"/>
        </a:p>
      </dgm:t>
    </dgm:pt>
    <dgm:pt modelId="{228E14CA-0D5C-4459-90D4-2BC3729C26DE}" type="sibTrans" cxnId="{A84D0A2F-720B-491C-A2D8-DF16A0DDAF7C}">
      <dgm:prSet/>
      <dgm:spPr/>
      <dgm:t>
        <a:bodyPr/>
        <a:lstStyle/>
        <a:p>
          <a:endParaRPr lang="nl-NL"/>
        </a:p>
      </dgm:t>
    </dgm:pt>
    <dgm:pt modelId="{B069196D-30AC-4167-B403-FC08047A79AA}">
      <dgm:prSet custT="1"/>
      <dgm:spPr/>
      <dgm:t>
        <a:bodyPr/>
        <a:lstStyle/>
        <a:p>
          <a:r>
            <a:rPr lang="nl-NL" sz="1800" noProof="0"/>
            <a:t>Discussie punten</a:t>
          </a:r>
        </a:p>
      </dgm:t>
    </dgm:pt>
    <dgm:pt modelId="{D5C2EF86-B1CD-4860-B0D1-9AE1332CD751}" type="parTrans" cxnId="{F215420F-55E7-4ED6-8C02-2352D2818DA3}">
      <dgm:prSet/>
      <dgm:spPr/>
      <dgm:t>
        <a:bodyPr/>
        <a:lstStyle/>
        <a:p>
          <a:endParaRPr lang="nl-NL"/>
        </a:p>
      </dgm:t>
    </dgm:pt>
    <dgm:pt modelId="{2898F078-2B3D-42D3-BCAD-3A633EA7741E}" type="sibTrans" cxnId="{F215420F-55E7-4ED6-8C02-2352D2818DA3}">
      <dgm:prSet/>
      <dgm:spPr/>
      <dgm:t>
        <a:bodyPr/>
        <a:lstStyle/>
        <a:p>
          <a:endParaRPr lang="nl-NL"/>
        </a:p>
      </dgm:t>
    </dgm:pt>
    <dgm:pt modelId="{5C2A643B-6748-4F6F-84C1-FA72904B3636}">
      <dgm:prSet custT="1"/>
      <dgm:spPr/>
      <dgm:t>
        <a:bodyPr/>
        <a:lstStyle/>
        <a:p>
          <a:r>
            <a:rPr lang="nl-NL" sz="1800" noProof="0"/>
            <a:t>Zijn er verrassingen?</a:t>
          </a:r>
        </a:p>
      </dgm:t>
    </dgm:pt>
    <dgm:pt modelId="{DA49D03C-FA96-4099-AF56-DAD39CAD2C28}" type="parTrans" cxnId="{AE69BF18-8BBE-48FA-A5C9-AF28E449A76E}">
      <dgm:prSet/>
      <dgm:spPr/>
      <dgm:t>
        <a:bodyPr/>
        <a:lstStyle/>
        <a:p>
          <a:endParaRPr lang="nl-NL"/>
        </a:p>
      </dgm:t>
    </dgm:pt>
    <dgm:pt modelId="{E1135439-ACBF-4FC4-B89B-D68D0566218A}" type="sibTrans" cxnId="{AE69BF18-8BBE-48FA-A5C9-AF28E449A76E}">
      <dgm:prSet/>
      <dgm:spPr/>
      <dgm:t>
        <a:bodyPr/>
        <a:lstStyle/>
        <a:p>
          <a:endParaRPr lang="nl-NL"/>
        </a:p>
      </dgm:t>
    </dgm:pt>
    <dgm:pt modelId="{4D0B1E95-0132-4E10-B99F-BB119EE063C4}" type="pres">
      <dgm:prSet presAssocID="{6CED89C8-CC09-4125-B803-D79181D4DA0B}" presName="Name0" presStyleCnt="0">
        <dgm:presLayoutVars>
          <dgm:dir/>
          <dgm:animLvl val="lvl"/>
          <dgm:resizeHandles val="exact"/>
        </dgm:presLayoutVars>
      </dgm:prSet>
      <dgm:spPr/>
    </dgm:pt>
    <dgm:pt modelId="{D52B0A62-0FB1-42E2-A034-03345EDF0AC6}" type="pres">
      <dgm:prSet presAssocID="{8B69E0E0-A459-4E00-8929-2E839F764372}" presName="composite" presStyleCnt="0"/>
      <dgm:spPr/>
    </dgm:pt>
    <dgm:pt modelId="{6B6F1405-2777-46C2-87F6-C83115A38126}" type="pres">
      <dgm:prSet presAssocID="{8B69E0E0-A459-4E00-8929-2E839F764372}" presName="parTx" presStyleLbl="alignNode1" presStyleIdx="0" presStyleCnt="2">
        <dgm:presLayoutVars>
          <dgm:chMax val="0"/>
          <dgm:chPref val="0"/>
          <dgm:bulletEnabled val="1"/>
        </dgm:presLayoutVars>
      </dgm:prSet>
      <dgm:spPr/>
    </dgm:pt>
    <dgm:pt modelId="{D3FD875C-4AD8-40F1-8949-833A7662F03E}" type="pres">
      <dgm:prSet presAssocID="{8B69E0E0-A459-4E00-8929-2E839F764372}" presName="desTx" presStyleLbl="alignAccFollowNode1" presStyleIdx="0" presStyleCnt="2">
        <dgm:presLayoutVars>
          <dgm:bulletEnabled val="1"/>
        </dgm:presLayoutVars>
      </dgm:prSet>
      <dgm:spPr/>
    </dgm:pt>
    <dgm:pt modelId="{C141CAA6-1BF7-40BC-93BE-A5B184EF4B5A}" type="pres">
      <dgm:prSet presAssocID="{52B0C831-04B6-4227-83BB-E311A8E093EB}" presName="space" presStyleCnt="0"/>
      <dgm:spPr/>
    </dgm:pt>
    <dgm:pt modelId="{8810A46F-CD66-47AD-814B-E7A3ABB6E4F7}" type="pres">
      <dgm:prSet presAssocID="{92CAE53F-21B3-417D-BC37-22CCA2E0679B}" presName="composite" presStyleCnt="0"/>
      <dgm:spPr/>
    </dgm:pt>
    <dgm:pt modelId="{53108A53-C0A9-4C05-BA95-19989888D6BF}" type="pres">
      <dgm:prSet presAssocID="{92CAE53F-21B3-417D-BC37-22CCA2E0679B}" presName="parTx" presStyleLbl="alignNode1" presStyleIdx="1" presStyleCnt="2">
        <dgm:presLayoutVars>
          <dgm:chMax val="0"/>
          <dgm:chPref val="0"/>
          <dgm:bulletEnabled val="1"/>
        </dgm:presLayoutVars>
      </dgm:prSet>
      <dgm:spPr/>
    </dgm:pt>
    <dgm:pt modelId="{EA195366-1EEC-4101-97A2-0D6932192A0E}" type="pres">
      <dgm:prSet presAssocID="{92CAE53F-21B3-417D-BC37-22CCA2E0679B}" presName="desTx" presStyleLbl="alignAccFollowNode1" presStyleIdx="1" presStyleCnt="2">
        <dgm:presLayoutVars>
          <dgm:bulletEnabled val="1"/>
        </dgm:presLayoutVars>
      </dgm:prSet>
      <dgm:spPr/>
    </dgm:pt>
  </dgm:ptLst>
  <dgm:cxnLst>
    <dgm:cxn modelId="{F215420F-55E7-4ED6-8C02-2352D2818DA3}" srcId="{92CAE53F-21B3-417D-BC37-22CCA2E0679B}" destId="{B069196D-30AC-4167-B403-FC08047A79AA}" srcOrd="2" destOrd="0" parTransId="{D5C2EF86-B1CD-4860-B0D1-9AE1332CD751}" sibTransId="{2898F078-2B3D-42D3-BCAD-3A633EA7741E}"/>
    <dgm:cxn modelId="{AE69BF18-8BBE-48FA-A5C9-AF28E449A76E}" srcId="{92CAE53F-21B3-417D-BC37-22CCA2E0679B}" destId="{5C2A643B-6748-4F6F-84C1-FA72904B3636}" srcOrd="1" destOrd="0" parTransId="{DA49D03C-FA96-4099-AF56-DAD39CAD2C28}" sibTransId="{E1135439-ACBF-4FC4-B89B-D68D0566218A}"/>
    <dgm:cxn modelId="{A84D0A2F-720B-491C-A2D8-DF16A0DDAF7C}" srcId="{8B69E0E0-A459-4E00-8929-2E839F764372}" destId="{56AF0135-5660-4C09-93B9-CD9950B33295}" srcOrd="3" destOrd="0" parTransId="{A4528882-2ACE-4AD8-AA2C-1B4FC1102B6F}" sibTransId="{228E14CA-0D5C-4459-90D4-2BC3729C26DE}"/>
    <dgm:cxn modelId="{76471B32-3840-4E46-9C67-78BDE5D4C67E}" type="presOf" srcId="{5C2A643B-6748-4F6F-84C1-FA72904B3636}" destId="{EA195366-1EEC-4101-97A2-0D6932192A0E}" srcOrd="0" destOrd="1" presId="urn:microsoft.com/office/officeart/2005/8/layout/hList1"/>
    <dgm:cxn modelId="{9D8C2738-9C02-42C6-A073-F49759975B29}" type="presOf" srcId="{88BD4341-17B7-46D9-A96A-D916D78D15D0}" destId="{EA195366-1EEC-4101-97A2-0D6932192A0E}" srcOrd="0" destOrd="0" presId="urn:microsoft.com/office/officeart/2005/8/layout/hList1"/>
    <dgm:cxn modelId="{6080DD68-5D91-457F-ACFD-999992D84C3C}" srcId="{6CED89C8-CC09-4125-B803-D79181D4DA0B}" destId="{8B69E0E0-A459-4E00-8929-2E839F764372}" srcOrd="0" destOrd="0" parTransId="{F63B65DF-8C69-4059-A62A-B405917FC47D}" sibTransId="{52B0C831-04B6-4227-83BB-E311A8E093EB}"/>
    <dgm:cxn modelId="{E0277053-2FF4-470D-B614-BF8E075543D6}" type="presOf" srcId="{56FCE0C2-13C4-4D30-919B-CE10EEA2DC78}" destId="{D3FD875C-4AD8-40F1-8949-833A7662F03E}" srcOrd="0" destOrd="0" presId="urn:microsoft.com/office/officeart/2005/8/layout/hList1"/>
    <dgm:cxn modelId="{CC541A56-E5CB-4A21-959B-83D8D8CB0AAA}" srcId="{92CAE53F-21B3-417D-BC37-22CCA2E0679B}" destId="{88BD4341-17B7-46D9-A96A-D916D78D15D0}" srcOrd="0" destOrd="0" parTransId="{C403C9C0-80C5-41D1-A930-8EBB4B9F352E}" sibTransId="{1E1F3D4F-28FD-4F4D-88F4-0E5917BC530C}"/>
    <dgm:cxn modelId="{D66ACF87-B8FB-42A6-B036-3C810A2E7BDE}" srcId="{8B69E0E0-A459-4E00-8929-2E839F764372}" destId="{53B80DF5-3F97-410F-B2A4-3B0E5673B04C}" srcOrd="1" destOrd="0" parTransId="{023BF151-849A-4D3F-8273-062DEB500AA3}" sibTransId="{2E45DE9D-55D2-44A3-91D9-6A7F3F29E9F6}"/>
    <dgm:cxn modelId="{2D7F6189-9BFB-4A93-8BC2-87742037229D}" type="presOf" srcId="{6CED89C8-CC09-4125-B803-D79181D4DA0B}" destId="{4D0B1E95-0132-4E10-B99F-BB119EE063C4}" srcOrd="0" destOrd="0" presId="urn:microsoft.com/office/officeart/2005/8/layout/hList1"/>
    <dgm:cxn modelId="{81A48295-0F1B-4205-93EF-0E23F16DCBB5}" type="presOf" srcId="{886532D1-1D85-4DD4-91D3-624FC6605367}" destId="{D3FD875C-4AD8-40F1-8949-833A7662F03E}" srcOrd="0" destOrd="2" presId="urn:microsoft.com/office/officeart/2005/8/layout/hList1"/>
    <dgm:cxn modelId="{3B710196-4ECC-4ED4-8CB0-1C0B4773361B}" type="presOf" srcId="{56AF0135-5660-4C09-93B9-CD9950B33295}" destId="{D3FD875C-4AD8-40F1-8949-833A7662F03E}" srcOrd="0" destOrd="3" presId="urn:microsoft.com/office/officeart/2005/8/layout/hList1"/>
    <dgm:cxn modelId="{F4D91BA4-8B56-40B2-BCBA-30BBE1DEEC30}" type="presOf" srcId="{92CAE53F-21B3-417D-BC37-22CCA2E0679B}" destId="{53108A53-C0A9-4C05-BA95-19989888D6BF}" srcOrd="0" destOrd="0" presId="urn:microsoft.com/office/officeart/2005/8/layout/hList1"/>
    <dgm:cxn modelId="{819568AC-0AF1-4926-82AD-0BE5D02AD68E}" type="presOf" srcId="{B069196D-30AC-4167-B403-FC08047A79AA}" destId="{EA195366-1EEC-4101-97A2-0D6932192A0E}" srcOrd="0" destOrd="2" presId="urn:microsoft.com/office/officeart/2005/8/layout/hList1"/>
    <dgm:cxn modelId="{200A97BF-ED0F-4F26-AE63-33B4AB15EF7B}" type="presOf" srcId="{53B80DF5-3F97-410F-B2A4-3B0E5673B04C}" destId="{D3FD875C-4AD8-40F1-8949-833A7662F03E}" srcOrd="0" destOrd="1" presId="urn:microsoft.com/office/officeart/2005/8/layout/hList1"/>
    <dgm:cxn modelId="{211EFFD2-E94E-4000-9EF9-7CE9C22E2DC1}" srcId="{6CED89C8-CC09-4125-B803-D79181D4DA0B}" destId="{92CAE53F-21B3-417D-BC37-22CCA2E0679B}" srcOrd="1" destOrd="0" parTransId="{F01EE809-366B-4779-A336-EB12CA53F8BE}" sibTransId="{BE0EE1C2-AA21-4BE2-A531-DBC5C1FB8AB5}"/>
    <dgm:cxn modelId="{73D701E1-4DA7-4749-9325-8875F73B9387}" type="presOf" srcId="{8B69E0E0-A459-4E00-8929-2E839F764372}" destId="{6B6F1405-2777-46C2-87F6-C83115A38126}" srcOrd="0" destOrd="0" presId="urn:microsoft.com/office/officeart/2005/8/layout/hList1"/>
    <dgm:cxn modelId="{99BC12F4-92D2-4B3A-8DE7-389A0784711E}" srcId="{8B69E0E0-A459-4E00-8929-2E839F764372}" destId="{886532D1-1D85-4DD4-91D3-624FC6605367}" srcOrd="2" destOrd="0" parTransId="{E045B94C-85CD-4A0C-9B25-16B3ECA5849C}" sibTransId="{62B93C38-DB06-4A81-B252-09D46655B250}"/>
    <dgm:cxn modelId="{6CC79EFF-E5D2-4C2D-B55F-5FA1EA27ACC2}" srcId="{8B69E0E0-A459-4E00-8929-2E839F764372}" destId="{56FCE0C2-13C4-4D30-919B-CE10EEA2DC78}" srcOrd="0" destOrd="0" parTransId="{DA0C7072-6B3F-446A-8E80-3671C27A4104}" sibTransId="{0293A7B1-149A-447B-B876-D5A891CC43D9}"/>
    <dgm:cxn modelId="{EC4D6A3E-E6F8-4AA3-B7EE-0EEBE94D3489}" type="presParOf" srcId="{4D0B1E95-0132-4E10-B99F-BB119EE063C4}" destId="{D52B0A62-0FB1-42E2-A034-03345EDF0AC6}" srcOrd="0" destOrd="0" presId="urn:microsoft.com/office/officeart/2005/8/layout/hList1"/>
    <dgm:cxn modelId="{BB3C239B-D949-45B6-8FC0-20327B4B5DB1}" type="presParOf" srcId="{D52B0A62-0FB1-42E2-A034-03345EDF0AC6}" destId="{6B6F1405-2777-46C2-87F6-C83115A38126}" srcOrd="0" destOrd="0" presId="urn:microsoft.com/office/officeart/2005/8/layout/hList1"/>
    <dgm:cxn modelId="{0B7411EE-FA8F-4AC2-9D69-399931F80B80}" type="presParOf" srcId="{D52B0A62-0FB1-42E2-A034-03345EDF0AC6}" destId="{D3FD875C-4AD8-40F1-8949-833A7662F03E}" srcOrd="1" destOrd="0" presId="urn:microsoft.com/office/officeart/2005/8/layout/hList1"/>
    <dgm:cxn modelId="{780ABFC5-E04A-4301-86CA-4C3D00475326}" type="presParOf" srcId="{4D0B1E95-0132-4E10-B99F-BB119EE063C4}" destId="{C141CAA6-1BF7-40BC-93BE-A5B184EF4B5A}" srcOrd="1" destOrd="0" presId="urn:microsoft.com/office/officeart/2005/8/layout/hList1"/>
    <dgm:cxn modelId="{DBF0B938-CBFE-4E9B-A559-EDA258F82781}" type="presParOf" srcId="{4D0B1E95-0132-4E10-B99F-BB119EE063C4}" destId="{8810A46F-CD66-47AD-814B-E7A3ABB6E4F7}" srcOrd="2" destOrd="0" presId="urn:microsoft.com/office/officeart/2005/8/layout/hList1"/>
    <dgm:cxn modelId="{CE3E9948-4720-4C62-B701-B696E6C84DB0}" type="presParOf" srcId="{8810A46F-CD66-47AD-814B-E7A3ABB6E4F7}" destId="{53108A53-C0A9-4C05-BA95-19989888D6BF}" srcOrd="0" destOrd="0" presId="urn:microsoft.com/office/officeart/2005/8/layout/hList1"/>
    <dgm:cxn modelId="{4D7FCC15-7CAC-4374-920B-7817F5B14CC0}" type="presParOf" srcId="{8810A46F-CD66-47AD-814B-E7A3ABB6E4F7}" destId="{EA195366-1EEC-4101-97A2-0D6932192A0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C3BE602-A266-40FA-8F8E-3632D03F06A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41E1F57-9AFA-4D0C-AB14-D1B38CE8CC6F}">
      <dgm:prSet custT="1"/>
      <dgm:spPr/>
      <dgm:t>
        <a:bodyPr/>
        <a:lstStyle/>
        <a:p>
          <a:pPr algn="l"/>
          <a:r>
            <a:rPr lang="nl-NL" sz="2400"/>
            <a:t>Wordt het beeld herkend? </a:t>
          </a:r>
        </a:p>
        <a:p>
          <a:pPr algn="l"/>
          <a:r>
            <a:rPr lang="nl-NL" sz="2400"/>
            <a:t>Zijn er verrassingen?</a:t>
          </a:r>
          <a:endParaRPr lang="nl-NL" sz="2400">
            <a:latin typeface="Poppins"/>
          </a:endParaRPr>
        </a:p>
        <a:p>
          <a:pPr algn="l" rtl="0"/>
          <a:r>
            <a:rPr lang="nl-NL" sz="2400">
              <a:latin typeface="Poppins"/>
            </a:rPr>
            <a:t>Mist u iets?</a:t>
          </a:r>
        </a:p>
      </dgm:t>
    </dgm:pt>
    <dgm:pt modelId="{221F69A5-FB58-406C-8040-5168E89B0661}" type="parTrans" cxnId="{6D978E65-B1BF-439C-B90F-AF91756A2FF0}">
      <dgm:prSet/>
      <dgm:spPr/>
      <dgm:t>
        <a:bodyPr/>
        <a:lstStyle/>
        <a:p>
          <a:endParaRPr lang="en-US"/>
        </a:p>
      </dgm:t>
    </dgm:pt>
    <dgm:pt modelId="{16F8BCBB-FC2C-4199-8C37-BEF4F8ED5821}" type="sibTrans" cxnId="{6D978E65-B1BF-439C-B90F-AF91756A2FF0}">
      <dgm:prSet/>
      <dgm:spPr/>
      <dgm:t>
        <a:bodyPr/>
        <a:lstStyle/>
        <a:p>
          <a:endParaRPr lang="en-US"/>
        </a:p>
      </dgm:t>
    </dgm:pt>
    <dgm:pt modelId="{76253228-BC8B-44C0-BB18-0F39E252E922}">
      <dgm:prSet custT="1"/>
      <dgm:spPr/>
      <dgm:t>
        <a:bodyPr/>
        <a:lstStyle/>
        <a:p>
          <a:r>
            <a:rPr lang="nl-NL" sz="2400"/>
            <a:t>Welke bespreekpunten zijn het meest relevant voor de dialoogsessie? </a:t>
          </a:r>
        </a:p>
      </dgm:t>
    </dgm:pt>
    <dgm:pt modelId="{31FC3620-70A2-4924-B83F-9CE8A33EEB1C}" type="parTrans" cxnId="{473AAE05-B223-46B2-A1A5-BE54EFE80A1E}">
      <dgm:prSet/>
      <dgm:spPr/>
      <dgm:t>
        <a:bodyPr/>
        <a:lstStyle/>
        <a:p>
          <a:endParaRPr lang="nl-NL"/>
        </a:p>
      </dgm:t>
    </dgm:pt>
    <dgm:pt modelId="{0BA981BB-7EA7-41CC-A2C5-7B8B54ECD30E}" type="sibTrans" cxnId="{473AAE05-B223-46B2-A1A5-BE54EFE80A1E}">
      <dgm:prSet/>
      <dgm:spPr/>
      <dgm:t>
        <a:bodyPr/>
        <a:lstStyle/>
        <a:p>
          <a:endParaRPr lang="nl-NL"/>
        </a:p>
      </dgm:t>
    </dgm:pt>
    <dgm:pt modelId="{38E0E994-055E-4D8A-A176-C5646EB8F59A}" type="pres">
      <dgm:prSet presAssocID="{8C3BE602-A266-40FA-8F8E-3632D03F06AD}" presName="linear" presStyleCnt="0">
        <dgm:presLayoutVars>
          <dgm:animLvl val="lvl"/>
          <dgm:resizeHandles val="exact"/>
        </dgm:presLayoutVars>
      </dgm:prSet>
      <dgm:spPr/>
    </dgm:pt>
    <dgm:pt modelId="{5671B0F5-CAE9-4370-9109-9AFD4143904B}" type="pres">
      <dgm:prSet presAssocID="{841E1F57-9AFA-4D0C-AB14-D1B38CE8CC6F}" presName="parentText" presStyleLbl="node1" presStyleIdx="0" presStyleCnt="2" custLinFactY="-9967" custLinFactNeighborX="-2096" custLinFactNeighborY="-100000">
        <dgm:presLayoutVars>
          <dgm:chMax val="0"/>
          <dgm:bulletEnabled val="1"/>
        </dgm:presLayoutVars>
      </dgm:prSet>
      <dgm:spPr/>
    </dgm:pt>
    <dgm:pt modelId="{E31AC68F-AB16-4CA0-8B99-BB3155C3EEED}" type="pres">
      <dgm:prSet presAssocID="{16F8BCBB-FC2C-4199-8C37-BEF4F8ED5821}" presName="spacer" presStyleCnt="0"/>
      <dgm:spPr/>
    </dgm:pt>
    <dgm:pt modelId="{F5CA9335-B218-4A0E-AECD-920FB2D22F4D}" type="pres">
      <dgm:prSet presAssocID="{76253228-BC8B-44C0-BB18-0F39E252E922}" presName="parentText" presStyleLbl="node1" presStyleIdx="1" presStyleCnt="2">
        <dgm:presLayoutVars>
          <dgm:chMax val="0"/>
          <dgm:bulletEnabled val="1"/>
        </dgm:presLayoutVars>
      </dgm:prSet>
      <dgm:spPr/>
    </dgm:pt>
  </dgm:ptLst>
  <dgm:cxnLst>
    <dgm:cxn modelId="{473AAE05-B223-46B2-A1A5-BE54EFE80A1E}" srcId="{8C3BE602-A266-40FA-8F8E-3632D03F06AD}" destId="{76253228-BC8B-44C0-BB18-0F39E252E922}" srcOrd="1" destOrd="0" parTransId="{31FC3620-70A2-4924-B83F-9CE8A33EEB1C}" sibTransId="{0BA981BB-7EA7-41CC-A2C5-7B8B54ECD30E}"/>
    <dgm:cxn modelId="{6D978E65-B1BF-439C-B90F-AF91756A2FF0}" srcId="{8C3BE602-A266-40FA-8F8E-3632D03F06AD}" destId="{841E1F57-9AFA-4D0C-AB14-D1B38CE8CC6F}" srcOrd="0" destOrd="0" parTransId="{221F69A5-FB58-406C-8040-5168E89B0661}" sibTransId="{16F8BCBB-FC2C-4199-8C37-BEF4F8ED5821}"/>
    <dgm:cxn modelId="{EBE67448-9CF3-4BDA-9F42-126B21160924}" type="presOf" srcId="{8C3BE602-A266-40FA-8F8E-3632D03F06AD}" destId="{38E0E994-055E-4D8A-A176-C5646EB8F59A}" srcOrd="0" destOrd="0" presId="urn:microsoft.com/office/officeart/2005/8/layout/vList2"/>
    <dgm:cxn modelId="{A023874D-EC62-42A0-BFA5-AA7232E77A71}" type="presOf" srcId="{841E1F57-9AFA-4D0C-AB14-D1B38CE8CC6F}" destId="{5671B0F5-CAE9-4370-9109-9AFD4143904B}" srcOrd="0" destOrd="0" presId="urn:microsoft.com/office/officeart/2005/8/layout/vList2"/>
    <dgm:cxn modelId="{EBC763B1-4D8D-4C3F-998D-393E4C68C433}" type="presOf" srcId="{76253228-BC8B-44C0-BB18-0F39E252E922}" destId="{F5CA9335-B218-4A0E-AECD-920FB2D22F4D}" srcOrd="0" destOrd="0" presId="urn:microsoft.com/office/officeart/2005/8/layout/vList2"/>
    <dgm:cxn modelId="{0E731B3E-FDE0-4516-9EBD-1445B2B60C28}" type="presParOf" srcId="{38E0E994-055E-4D8A-A176-C5646EB8F59A}" destId="{5671B0F5-CAE9-4370-9109-9AFD4143904B}" srcOrd="0" destOrd="0" presId="urn:microsoft.com/office/officeart/2005/8/layout/vList2"/>
    <dgm:cxn modelId="{AAC15D78-5CE0-4D56-BB2D-4EC1FF6328FB}" type="presParOf" srcId="{38E0E994-055E-4D8A-A176-C5646EB8F59A}" destId="{E31AC68F-AB16-4CA0-8B99-BB3155C3EEED}" srcOrd="1" destOrd="0" presId="urn:microsoft.com/office/officeart/2005/8/layout/vList2"/>
    <dgm:cxn modelId="{798AF9C5-6EB0-4EE2-933B-649CC8BB83BC}" type="presParOf" srcId="{38E0E994-055E-4D8A-A176-C5646EB8F59A}" destId="{F5CA9335-B218-4A0E-AECD-920FB2D22F4D}"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9F5D901-573A-4BCB-AC89-286ADF22DE6B}"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6DE3D84B-D804-47D1-ACAB-09C56CA64635}">
      <dgm:prSet/>
      <dgm:spPr/>
      <dgm:t>
        <a:bodyPr/>
        <a:lstStyle/>
        <a:p>
          <a:pPr algn="ctr"/>
          <a:r>
            <a:rPr lang="nl-NL" b="1"/>
            <a:t>Activiteitencentrum</a:t>
          </a:r>
        </a:p>
        <a:p>
          <a:pPr algn="l"/>
          <a:r>
            <a:rPr lang="nl-NL" noProof="0"/>
            <a:t>Bevordert </a:t>
          </a:r>
          <a:r>
            <a:rPr lang="nl-NL" noProof="0" err="1"/>
            <a:t>pz</a:t>
          </a:r>
          <a:r>
            <a:rPr lang="nl-NL" noProof="0"/>
            <a:t> expertise</a:t>
          </a:r>
        </a:p>
        <a:p>
          <a:pPr algn="l"/>
          <a:r>
            <a:rPr lang="nl-NL" noProof="0"/>
            <a:t>Consultatievoorziening</a:t>
          </a:r>
        </a:p>
        <a:p>
          <a:pPr algn="l"/>
          <a:r>
            <a:rPr lang="nl-NL" noProof="0"/>
            <a:t>Bevorderen uitwisselen kennis</a:t>
          </a:r>
        </a:p>
        <a:p>
          <a:pPr algn="l"/>
          <a:r>
            <a:rPr lang="nl-NL" noProof="0"/>
            <a:t>Vergroten deskundigheid</a:t>
          </a:r>
        </a:p>
        <a:p>
          <a:pPr algn="l"/>
          <a:r>
            <a:rPr lang="nl-NL" noProof="0"/>
            <a:t>Kennisplatform</a:t>
          </a:r>
        </a:p>
      </dgm:t>
    </dgm:pt>
    <dgm:pt modelId="{379FC679-0BD1-47F8-9A5E-09F3C91469D3}" type="parTrans" cxnId="{6E26AE35-0C45-4781-89D0-CF7C65026006}">
      <dgm:prSet/>
      <dgm:spPr/>
      <dgm:t>
        <a:bodyPr/>
        <a:lstStyle/>
        <a:p>
          <a:endParaRPr lang="en-US"/>
        </a:p>
      </dgm:t>
    </dgm:pt>
    <dgm:pt modelId="{5DC7FFCE-CB51-4072-A227-B0BABDD023B0}" type="sibTrans" cxnId="{6E26AE35-0C45-4781-89D0-CF7C65026006}">
      <dgm:prSet/>
      <dgm:spPr/>
      <dgm:t>
        <a:bodyPr/>
        <a:lstStyle/>
        <a:p>
          <a:endParaRPr lang="en-US"/>
        </a:p>
      </dgm:t>
    </dgm:pt>
    <dgm:pt modelId="{E5E97DC2-3566-4E70-81DC-59C3035A8EDC}">
      <dgm:prSet custT="1"/>
      <dgm:spPr/>
      <dgm:t>
        <a:bodyPr/>
        <a:lstStyle/>
        <a:p>
          <a:pPr algn="ctr"/>
          <a:r>
            <a:rPr lang="nl-NL" sz="1600" b="1" noProof="0"/>
            <a:t>Optimalisatie netwerkzorg in de keten</a:t>
          </a:r>
        </a:p>
        <a:p>
          <a:pPr algn="l"/>
          <a:r>
            <a:rPr lang="nl-NL" sz="1600" noProof="0"/>
            <a:t>Bevorderen samenhang en samenwerking, stimuleren ontwikkeling, vaststelling, implementatie en borging transmurale netwerkafspraken.</a:t>
          </a:r>
        </a:p>
      </dgm:t>
    </dgm:pt>
    <dgm:pt modelId="{97F726F1-457E-48B5-81DF-E62ABBCCCC5A}" type="parTrans" cxnId="{EABD1D0C-6B6F-4DF8-9DF6-65418A09209F}">
      <dgm:prSet/>
      <dgm:spPr/>
      <dgm:t>
        <a:bodyPr/>
        <a:lstStyle/>
        <a:p>
          <a:endParaRPr lang="en-US"/>
        </a:p>
      </dgm:t>
    </dgm:pt>
    <dgm:pt modelId="{290D1595-54C8-4B67-BB5C-67139D40FC90}" type="sibTrans" cxnId="{EABD1D0C-6B6F-4DF8-9DF6-65418A09209F}">
      <dgm:prSet/>
      <dgm:spPr/>
      <dgm:t>
        <a:bodyPr/>
        <a:lstStyle/>
        <a:p>
          <a:endParaRPr lang="en-US"/>
        </a:p>
      </dgm:t>
    </dgm:pt>
    <dgm:pt modelId="{BB3CFE0C-BBA2-4A3E-B7DF-F802C13D0A29}">
      <dgm:prSet custT="1"/>
      <dgm:spPr/>
      <dgm:t>
        <a:bodyPr/>
        <a:lstStyle/>
        <a:p>
          <a:pPr algn="ctr"/>
          <a:br>
            <a:rPr lang="nl-NL" sz="1600" b="1" noProof="0"/>
          </a:br>
          <a:r>
            <a:rPr lang="nl-NL" sz="1600" b="1" noProof="0"/>
            <a:t>Belangenbehartiging</a:t>
          </a:r>
        </a:p>
        <a:p>
          <a:pPr algn="l"/>
          <a:r>
            <a:rPr lang="nl-NL" sz="1600" noProof="0"/>
            <a:t>Uitdragen belang goede </a:t>
          </a:r>
          <a:r>
            <a:rPr lang="nl-NL" sz="1600" noProof="0" err="1"/>
            <a:t>pz</a:t>
          </a:r>
          <a:endParaRPr lang="nl-NL" sz="1600" noProof="0"/>
        </a:p>
        <a:p>
          <a:pPr algn="l"/>
          <a:r>
            <a:rPr lang="nl-NL" sz="1600" noProof="0"/>
            <a:t>Realiseren randvoorwaarden waaronder divers aanbod</a:t>
          </a:r>
        </a:p>
        <a:p>
          <a:pPr algn="l"/>
          <a:r>
            <a:rPr lang="nl-NL" sz="1600" noProof="0"/>
            <a:t>Versterken positie </a:t>
          </a:r>
          <a:r>
            <a:rPr lang="nl-NL" sz="1600" noProof="0" err="1"/>
            <a:t>pz</a:t>
          </a:r>
          <a:r>
            <a:rPr lang="nl-NL" sz="1600" noProof="0"/>
            <a:t> en netwerk in de regio</a:t>
          </a:r>
        </a:p>
        <a:p>
          <a:pPr algn="ctr"/>
          <a:endParaRPr lang="nl-NL" sz="1600" noProof="0"/>
        </a:p>
      </dgm:t>
    </dgm:pt>
    <dgm:pt modelId="{85DC2925-832B-46EA-922E-979FC9CBBFB6}" type="parTrans" cxnId="{AEFDE14B-D4A3-405B-851F-EFCE204E6365}">
      <dgm:prSet/>
      <dgm:spPr/>
      <dgm:t>
        <a:bodyPr/>
        <a:lstStyle/>
        <a:p>
          <a:endParaRPr lang="en-US"/>
        </a:p>
      </dgm:t>
    </dgm:pt>
    <dgm:pt modelId="{A4715110-372E-431F-852C-E84991625A0F}" type="sibTrans" cxnId="{AEFDE14B-D4A3-405B-851F-EFCE204E6365}">
      <dgm:prSet/>
      <dgm:spPr/>
      <dgm:t>
        <a:bodyPr/>
        <a:lstStyle/>
        <a:p>
          <a:endParaRPr lang="en-US"/>
        </a:p>
      </dgm:t>
    </dgm:pt>
    <dgm:pt modelId="{8E9804C6-1FF8-4FA4-A074-FC2AA9A05F75}">
      <dgm:prSet custT="1"/>
      <dgm:spPr/>
      <dgm:t>
        <a:bodyPr/>
        <a:lstStyle/>
        <a:p>
          <a:pPr marL="0" lvl="0" algn="ctr" defTabSz="711200">
            <a:lnSpc>
              <a:spcPct val="90000"/>
            </a:lnSpc>
            <a:spcBef>
              <a:spcPct val="0"/>
            </a:spcBef>
            <a:spcAft>
              <a:spcPct val="35000"/>
            </a:spcAft>
            <a:buNone/>
          </a:pPr>
          <a:r>
            <a:rPr lang="nl-NL" sz="1600" b="1" kern="1200" noProof="0">
              <a:solidFill>
                <a:srgbClr val="FFFFFF"/>
              </a:solidFill>
              <a:latin typeface="Poppins"/>
              <a:ea typeface="+mn-ea"/>
              <a:cs typeface="+mn-cs"/>
            </a:rPr>
            <a:t>Informatievoorziening</a:t>
          </a:r>
          <a:endParaRPr lang="nl-NL" sz="1600" b="0" kern="1200" noProof="0">
            <a:solidFill>
              <a:srgbClr val="FFFFFF"/>
            </a:solidFill>
            <a:latin typeface="Poppins"/>
            <a:ea typeface="+mn-ea"/>
            <a:cs typeface="+mn-cs"/>
          </a:endParaRPr>
        </a:p>
        <a:p>
          <a:pPr marL="0" lvl="0" algn="l" defTabSz="711200">
            <a:lnSpc>
              <a:spcPct val="90000"/>
            </a:lnSpc>
            <a:spcBef>
              <a:spcPct val="0"/>
            </a:spcBef>
            <a:spcAft>
              <a:spcPct val="35000"/>
            </a:spcAft>
            <a:buNone/>
          </a:pPr>
          <a:r>
            <a:rPr lang="nl-NL" sz="1600" b="0" kern="1200" noProof="0">
              <a:solidFill>
                <a:srgbClr val="FFFFFF"/>
              </a:solidFill>
              <a:latin typeface="Poppins"/>
              <a:ea typeface="+mn-ea"/>
              <a:cs typeface="+mn-cs"/>
            </a:rPr>
            <a:t>Inzicht in aanbod pz via website, palliarts, brochures etc</a:t>
          </a:r>
        </a:p>
        <a:p>
          <a:pPr marL="0" lvl="0" algn="l" defTabSz="711200">
            <a:lnSpc>
              <a:spcPct val="90000"/>
            </a:lnSpc>
            <a:spcBef>
              <a:spcPct val="0"/>
            </a:spcBef>
            <a:spcAft>
              <a:spcPct val="35000"/>
            </a:spcAft>
            <a:buNone/>
          </a:pPr>
          <a:r>
            <a:rPr lang="nl-NL" sz="1600" b="0" kern="1200" noProof="0">
              <a:solidFill>
                <a:srgbClr val="FFFFFF"/>
              </a:solidFill>
              <a:latin typeface="Poppins"/>
              <a:ea typeface="+mn-ea"/>
              <a:cs typeface="+mn-cs"/>
            </a:rPr>
            <a:t>Verstrekken publieksinformatie</a:t>
          </a:r>
        </a:p>
        <a:p>
          <a:pPr marL="0" lvl="0" algn="l" defTabSz="711200">
            <a:lnSpc>
              <a:spcPct val="90000"/>
            </a:lnSpc>
            <a:spcBef>
              <a:spcPct val="0"/>
            </a:spcBef>
            <a:spcAft>
              <a:spcPct val="35000"/>
            </a:spcAft>
            <a:buNone/>
          </a:pPr>
          <a:r>
            <a:rPr lang="nl-NL" sz="1600" b="0" kern="1200" noProof="0">
              <a:solidFill>
                <a:srgbClr val="FFFFFF"/>
              </a:solidFill>
              <a:latin typeface="Poppins"/>
              <a:ea typeface="+mn-ea"/>
              <a:cs typeface="+mn-cs"/>
            </a:rPr>
            <a:t>Uitgeven van nieuwsbrieven, informeren netwerkpartners</a:t>
          </a:r>
        </a:p>
      </dgm:t>
    </dgm:pt>
    <dgm:pt modelId="{9052AB0A-C8A5-4969-A616-223CFDA0625B}" type="parTrans" cxnId="{353B307A-4D74-430D-BE2B-531F6E8FA6E4}">
      <dgm:prSet/>
      <dgm:spPr/>
      <dgm:t>
        <a:bodyPr/>
        <a:lstStyle/>
        <a:p>
          <a:endParaRPr lang="en-US"/>
        </a:p>
      </dgm:t>
    </dgm:pt>
    <dgm:pt modelId="{0673718E-6844-40B6-BB52-900FBB026D4F}" type="sibTrans" cxnId="{353B307A-4D74-430D-BE2B-531F6E8FA6E4}">
      <dgm:prSet/>
      <dgm:spPr/>
      <dgm:t>
        <a:bodyPr/>
        <a:lstStyle/>
        <a:p>
          <a:endParaRPr lang="en-US"/>
        </a:p>
      </dgm:t>
    </dgm:pt>
    <dgm:pt modelId="{0F1D22A1-DDAF-405C-956D-65EFE02D09D8}" type="pres">
      <dgm:prSet presAssocID="{69F5D901-573A-4BCB-AC89-286ADF22DE6B}" presName="diagram" presStyleCnt="0">
        <dgm:presLayoutVars>
          <dgm:dir/>
          <dgm:resizeHandles val="exact"/>
        </dgm:presLayoutVars>
      </dgm:prSet>
      <dgm:spPr/>
    </dgm:pt>
    <dgm:pt modelId="{BB73502E-30CA-4380-8E08-2172A2D25D86}" type="pres">
      <dgm:prSet presAssocID="{6DE3D84B-D804-47D1-ACAB-09C56CA64635}" presName="node" presStyleLbl="node1" presStyleIdx="0" presStyleCnt="4">
        <dgm:presLayoutVars>
          <dgm:bulletEnabled val="1"/>
        </dgm:presLayoutVars>
      </dgm:prSet>
      <dgm:spPr/>
    </dgm:pt>
    <dgm:pt modelId="{63760921-F351-4584-899A-498DF1F97CBF}" type="pres">
      <dgm:prSet presAssocID="{5DC7FFCE-CB51-4072-A227-B0BABDD023B0}" presName="sibTrans" presStyleCnt="0"/>
      <dgm:spPr/>
    </dgm:pt>
    <dgm:pt modelId="{59EE4330-4C3D-44EB-8750-B93DA8CAC44F}" type="pres">
      <dgm:prSet presAssocID="{E5E97DC2-3566-4E70-81DC-59C3035A8EDC}" presName="node" presStyleLbl="node1" presStyleIdx="1" presStyleCnt="4">
        <dgm:presLayoutVars>
          <dgm:bulletEnabled val="1"/>
        </dgm:presLayoutVars>
      </dgm:prSet>
      <dgm:spPr/>
    </dgm:pt>
    <dgm:pt modelId="{7DAF653A-EAA0-4C7C-9BE2-5D52FCCAC959}" type="pres">
      <dgm:prSet presAssocID="{290D1595-54C8-4B67-BB5C-67139D40FC90}" presName="sibTrans" presStyleCnt="0"/>
      <dgm:spPr/>
    </dgm:pt>
    <dgm:pt modelId="{BABCE607-7FE0-46A7-A876-D9714615E36E}" type="pres">
      <dgm:prSet presAssocID="{BB3CFE0C-BBA2-4A3E-B7DF-F802C13D0A29}" presName="node" presStyleLbl="node1" presStyleIdx="2" presStyleCnt="4" custLinFactNeighborX="329" custLinFactNeighborY="-3572">
        <dgm:presLayoutVars>
          <dgm:bulletEnabled val="1"/>
        </dgm:presLayoutVars>
      </dgm:prSet>
      <dgm:spPr/>
    </dgm:pt>
    <dgm:pt modelId="{89B906F9-BFAF-410D-B651-71CAAF0980B6}" type="pres">
      <dgm:prSet presAssocID="{A4715110-372E-431F-852C-E84991625A0F}" presName="sibTrans" presStyleCnt="0"/>
      <dgm:spPr/>
    </dgm:pt>
    <dgm:pt modelId="{C27D2524-3331-4EC2-8245-B1F2BDC07F27}" type="pres">
      <dgm:prSet presAssocID="{8E9804C6-1FF8-4FA4-A074-FC2AA9A05F75}" presName="node" presStyleLbl="node1" presStyleIdx="3" presStyleCnt="4" custLinFactNeighborX="323" custLinFactNeighborY="-3762">
        <dgm:presLayoutVars>
          <dgm:bulletEnabled val="1"/>
        </dgm:presLayoutVars>
      </dgm:prSet>
      <dgm:spPr/>
    </dgm:pt>
  </dgm:ptLst>
  <dgm:cxnLst>
    <dgm:cxn modelId="{EABD1D0C-6B6F-4DF8-9DF6-65418A09209F}" srcId="{69F5D901-573A-4BCB-AC89-286ADF22DE6B}" destId="{E5E97DC2-3566-4E70-81DC-59C3035A8EDC}" srcOrd="1" destOrd="0" parTransId="{97F726F1-457E-48B5-81DF-E62ABBCCCC5A}" sibTransId="{290D1595-54C8-4B67-BB5C-67139D40FC90}"/>
    <dgm:cxn modelId="{6E26AE35-0C45-4781-89D0-CF7C65026006}" srcId="{69F5D901-573A-4BCB-AC89-286ADF22DE6B}" destId="{6DE3D84B-D804-47D1-ACAB-09C56CA64635}" srcOrd="0" destOrd="0" parTransId="{379FC679-0BD1-47F8-9A5E-09F3C91469D3}" sibTransId="{5DC7FFCE-CB51-4072-A227-B0BABDD023B0}"/>
    <dgm:cxn modelId="{8634EA65-585A-4D99-975A-6B7FB9229AFB}" type="presOf" srcId="{69F5D901-573A-4BCB-AC89-286ADF22DE6B}" destId="{0F1D22A1-DDAF-405C-956D-65EFE02D09D8}" srcOrd="0" destOrd="0" presId="urn:microsoft.com/office/officeart/2005/8/layout/default"/>
    <dgm:cxn modelId="{2634CF6A-D6CE-4B3C-A21D-9D26D90FC3AB}" type="presOf" srcId="{8E9804C6-1FF8-4FA4-A074-FC2AA9A05F75}" destId="{C27D2524-3331-4EC2-8245-B1F2BDC07F27}" srcOrd="0" destOrd="0" presId="urn:microsoft.com/office/officeart/2005/8/layout/default"/>
    <dgm:cxn modelId="{AEFDE14B-D4A3-405B-851F-EFCE204E6365}" srcId="{69F5D901-573A-4BCB-AC89-286ADF22DE6B}" destId="{BB3CFE0C-BBA2-4A3E-B7DF-F802C13D0A29}" srcOrd="2" destOrd="0" parTransId="{85DC2925-832B-46EA-922E-979FC9CBBFB6}" sibTransId="{A4715110-372E-431F-852C-E84991625A0F}"/>
    <dgm:cxn modelId="{353B307A-4D74-430D-BE2B-531F6E8FA6E4}" srcId="{69F5D901-573A-4BCB-AC89-286ADF22DE6B}" destId="{8E9804C6-1FF8-4FA4-A074-FC2AA9A05F75}" srcOrd="3" destOrd="0" parTransId="{9052AB0A-C8A5-4969-A616-223CFDA0625B}" sibTransId="{0673718E-6844-40B6-BB52-900FBB026D4F}"/>
    <dgm:cxn modelId="{C194F67D-54B7-4930-B017-5245C401F1B3}" type="presOf" srcId="{6DE3D84B-D804-47D1-ACAB-09C56CA64635}" destId="{BB73502E-30CA-4380-8E08-2172A2D25D86}" srcOrd="0" destOrd="0" presId="urn:microsoft.com/office/officeart/2005/8/layout/default"/>
    <dgm:cxn modelId="{603C23FC-6302-48B6-A1F0-5AAB834946EA}" type="presOf" srcId="{E5E97DC2-3566-4E70-81DC-59C3035A8EDC}" destId="{59EE4330-4C3D-44EB-8750-B93DA8CAC44F}" srcOrd="0" destOrd="0" presId="urn:microsoft.com/office/officeart/2005/8/layout/default"/>
    <dgm:cxn modelId="{1A618EFF-7C52-4BDF-B121-FA73CD8D1270}" type="presOf" srcId="{BB3CFE0C-BBA2-4A3E-B7DF-F802C13D0A29}" destId="{BABCE607-7FE0-46A7-A876-D9714615E36E}" srcOrd="0" destOrd="0" presId="urn:microsoft.com/office/officeart/2005/8/layout/default"/>
    <dgm:cxn modelId="{862CC7C3-439B-4804-95AC-FC90479037A1}" type="presParOf" srcId="{0F1D22A1-DDAF-405C-956D-65EFE02D09D8}" destId="{BB73502E-30CA-4380-8E08-2172A2D25D86}" srcOrd="0" destOrd="0" presId="urn:microsoft.com/office/officeart/2005/8/layout/default"/>
    <dgm:cxn modelId="{E78FE5D8-2FD5-45C7-BC37-A290F16DBC60}" type="presParOf" srcId="{0F1D22A1-DDAF-405C-956D-65EFE02D09D8}" destId="{63760921-F351-4584-899A-498DF1F97CBF}" srcOrd="1" destOrd="0" presId="urn:microsoft.com/office/officeart/2005/8/layout/default"/>
    <dgm:cxn modelId="{AE2DB11C-23D1-4090-A747-36EB918A92A8}" type="presParOf" srcId="{0F1D22A1-DDAF-405C-956D-65EFE02D09D8}" destId="{59EE4330-4C3D-44EB-8750-B93DA8CAC44F}" srcOrd="2" destOrd="0" presId="urn:microsoft.com/office/officeart/2005/8/layout/default"/>
    <dgm:cxn modelId="{A3189AE8-F7E5-40A9-8548-72007B3BF47D}" type="presParOf" srcId="{0F1D22A1-DDAF-405C-956D-65EFE02D09D8}" destId="{7DAF653A-EAA0-4C7C-9BE2-5D52FCCAC959}" srcOrd="3" destOrd="0" presId="urn:microsoft.com/office/officeart/2005/8/layout/default"/>
    <dgm:cxn modelId="{FE03796C-B4C6-4D91-AD93-1F4C3ADE35BE}" type="presParOf" srcId="{0F1D22A1-DDAF-405C-956D-65EFE02D09D8}" destId="{BABCE607-7FE0-46A7-A876-D9714615E36E}" srcOrd="4" destOrd="0" presId="urn:microsoft.com/office/officeart/2005/8/layout/default"/>
    <dgm:cxn modelId="{C4E75217-7A04-4CB6-9B1D-1259D83D3DC5}" type="presParOf" srcId="{0F1D22A1-DDAF-405C-956D-65EFE02D09D8}" destId="{89B906F9-BFAF-410D-B651-71CAAF0980B6}" srcOrd="5" destOrd="0" presId="urn:microsoft.com/office/officeart/2005/8/layout/default"/>
    <dgm:cxn modelId="{95F65C8A-B414-471F-A607-694642036222}" type="presParOf" srcId="{0F1D22A1-DDAF-405C-956D-65EFE02D09D8}" destId="{C27D2524-3331-4EC2-8245-B1F2BDC07F2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3BE602-A266-40FA-8F8E-3632D03F06A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41E1F57-9AFA-4D0C-AB14-D1B38CE8CC6F}">
      <dgm:prSet custT="1"/>
      <dgm:spPr/>
      <dgm:t>
        <a:bodyPr/>
        <a:lstStyle/>
        <a:p>
          <a:pPr algn="l"/>
          <a:r>
            <a:rPr lang="nl-NL" sz="3600"/>
            <a:t>Wordt het beeld herkend? </a:t>
          </a:r>
        </a:p>
        <a:p>
          <a:pPr algn="l"/>
          <a:r>
            <a:rPr lang="nl-NL" sz="3600"/>
            <a:t>Zijn er verrassingen?</a:t>
          </a:r>
          <a:endParaRPr lang="nl-NL" sz="3600">
            <a:latin typeface="Poppins"/>
          </a:endParaRPr>
        </a:p>
        <a:p>
          <a:pPr algn="l" rtl="0"/>
          <a:r>
            <a:rPr lang="nl-NL" sz="3600">
              <a:latin typeface="Poppins"/>
            </a:rPr>
            <a:t>Mist u iets?</a:t>
          </a:r>
        </a:p>
      </dgm:t>
    </dgm:pt>
    <dgm:pt modelId="{221F69A5-FB58-406C-8040-5168E89B0661}" type="parTrans" cxnId="{6D978E65-B1BF-439C-B90F-AF91756A2FF0}">
      <dgm:prSet/>
      <dgm:spPr/>
      <dgm:t>
        <a:bodyPr/>
        <a:lstStyle/>
        <a:p>
          <a:endParaRPr lang="en-US"/>
        </a:p>
      </dgm:t>
    </dgm:pt>
    <dgm:pt modelId="{16F8BCBB-FC2C-4199-8C37-BEF4F8ED5821}" type="sibTrans" cxnId="{6D978E65-B1BF-439C-B90F-AF91756A2FF0}">
      <dgm:prSet/>
      <dgm:spPr/>
      <dgm:t>
        <a:bodyPr/>
        <a:lstStyle/>
        <a:p>
          <a:endParaRPr lang="en-US"/>
        </a:p>
      </dgm:t>
    </dgm:pt>
    <dgm:pt modelId="{38E0E994-055E-4D8A-A176-C5646EB8F59A}" type="pres">
      <dgm:prSet presAssocID="{8C3BE602-A266-40FA-8F8E-3632D03F06AD}" presName="linear" presStyleCnt="0">
        <dgm:presLayoutVars>
          <dgm:animLvl val="lvl"/>
          <dgm:resizeHandles val="exact"/>
        </dgm:presLayoutVars>
      </dgm:prSet>
      <dgm:spPr/>
    </dgm:pt>
    <dgm:pt modelId="{5671B0F5-CAE9-4370-9109-9AFD4143904B}" type="pres">
      <dgm:prSet presAssocID="{841E1F57-9AFA-4D0C-AB14-D1B38CE8CC6F}" presName="parentText" presStyleLbl="node1" presStyleIdx="0" presStyleCnt="1" custLinFactY="-9967" custLinFactNeighborX="-2096" custLinFactNeighborY="-100000">
        <dgm:presLayoutVars>
          <dgm:chMax val="0"/>
          <dgm:bulletEnabled val="1"/>
        </dgm:presLayoutVars>
      </dgm:prSet>
      <dgm:spPr/>
    </dgm:pt>
  </dgm:ptLst>
  <dgm:cxnLst>
    <dgm:cxn modelId="{6D978E65-B1BF-439C-B90F-AF91756A2FF0}" srcId="{8C3BE602-A266-40FA-8F8E-3632D03F06AD}" destId="{841E1F57-9AFA-4D0C-AB14-D1B38CE8CC6F}" srcOrd="0" destOrd="0" parTransId="{221F69A5-FB58-406C-8040-5168E89B0661}" sibTransId="{16F8BCBB-FC2C-4199-8C37-BEF4F8ED5821}"/>
    <dgm:cxn modelId="{EBE67448-9CF3-4BDA-9F42-126B21160924}" type="presOf" srcId="{8C3BE602-A266-40FA-8F8E-3632D03F06AD}" destId="{38E0E994-055E-4D8A-A176-C5646EB8F59A}" srcOrd="0" destOrd="0" presId="urn:microsoft.com/office/officeart/2005/8/layout/vList2"/>
    <dgm:cxn modelId="{A023874D-EC62-42A0-BFA5-AA7232E77A71}" type="presOf" srcId="{841E1F57-9AFA-4D0C-AB14-D1B38CE8CC6F}" destId="{5671B0F5-CAE9-4370-9109-9AFD4143904B}" srcOrd="0" destOrd="0" presId="urn:microsoft.com/office/officeart/2005/8/layout/vList2"/>
    <dgm:cxn modelId="{0E731B3E-FDE0-4516-9EBD-1445B2B60C28}" type="presParOf" srcId="{38E0E994-055E-4D8A-A176-C5646EB8F59A}" destId="{5671B0F5-CAE9-4370-9109-9AFD4143904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9F5D901-573A-4BCB-AC89-286ADF22DE6B}"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6DE3D84B-D804-47D1-ACAB-09C56CA64635}">
      <dgm:prSet/>
      <dgm:spPr/>
      <dgm:t>
        <a:bodyPr/>
        <a:lstStyle/>
        <a:p>
          <a:r>
            <a:rPr lang="nl-NL"/>
            <a:t>Er is niet altijd een gedeeld beeld. Staat al veel rond de ambitie, behoefte aan zichtbaarder en concreter.</a:t>
          </a:r>
          <a:endParaRPr lang="en-US"/>
        </a:p>
      </dgm:t>
    </dgm:pt>
    <dgm:pt modelId="{379FC679-0BD1-47F8-9A5E-09F3C91469D3}" type="parTrans" cxnId="{6E26AE35-0C45-4781-89D0-CF7C65026006}">
      <dgm:prSet/>
      <dgm:spPr/>
      <dgm:t>
        <a:bodyPr/>
        <a:lstStyle/>
        <a:p>
          <a:endParaRPr lang="en-US"/>
        </a:p>
      </dgm:t>
    </dgm:pt>
    <dgm:pt modelId="{5DC7FFCE-CB51-4072-A227-B0BABDD023B0}" type="sibTrans" cxnId="{6E26AE35-0C45-4781-89D0-CF7C65026006}">
      <dgm:prSet/>
      <dgm:spPr/>
      <dgm:t>
        <a:bodyPr/>
        <a:lstStyle/>
        <a:p>
          <a:endParaRPr lang="en-US"/>
        </a:p>
      </dgm:t>
    </dgm:pt>
    <dgm:pt modelId="{E5E97DC2-3566-4E70-81DC-59C3035A8EDC}">
      <dgm:prSet custT="1"/>
      <dgm:spPr/>
      <dgm:t>
        <a:bodyPr/>
        <a:lstStyle/>
        <a:p>
          <a:r>
            <a:rPr lang="nl-NL" sz="1400"/>
            <a:t>Bestuurders positiever over gedeeld beeld dan zorgverleners/ leidinggevenden.</a:t>
          </a:r>
          <a:endParaRPr lang="en-US" sz="1400"/>
        </a:p>
      </dgm:t>
    </dgm:pt>
    <dgm:pt modelId="{97F726F1-457E-48B5-81DF-E62ABBCCCC5A}" type="parTrans" cxnId="{EABD1D0C-6B6F-4DF8-9DF6-65418A09209F}">
      <dgm:prSet/>
      <dgm:spPr/>
      <dgm:t>
        <a:bodyPr/>
        <a:lstStyle/>
        <a:p>
          <a:endParaRPr lang="en-US"/>
        </a:p>
      </dgm:t>
    </dgm:pt>
    <dgm:pt modelId="{290D1595-54C8-4B67-BB5C-67139D40FC90}" type="sibTrans" cxnId="{EABD1D0C-6B6F-4DF8-9DF6-65418A09209F}">
      <dgm:prSet/>
      <dgm:spPr/>
      <dgm:t>
        <a:bodyPr/>
        <a:lstStyle/>
        <a:p>
          <a:endParaRPr lang="en-US"/>
        </a:p>
      </dgm:t>
    </dgm:pt>
    <dgm:pt modelId="{BB3CFE0C-BBA2-4A3E-B7DF-F802C13D0A29}">
      <dgm:prSet custT="1"/>
      <dgm:spPr/>
      <dgm:t>
        <a:bodyPr/>
        <a:lstStyle/>
        <a:p>
          <a:r>
            <a:rPr lang="en-US" sz="1400" err="1"/>
            <a:t>Niet</a:t>
          </a:r>
          <a:r>
            <a:rPr lang="en-US" sz="1400"/>
            <a:t> </a:t>
          </a:r>
          <a:r>
            <a:rPr lang="en-US" sz="1400" err="1"/>
            <a:t>altijd</a:t>
          </a:r>
          <a:r>
            <a:rPr lang="en-US" sz="1400"/>
            <a:t> </a:t>
          </a:r>
          <a:r>
            <a:rPr lang="en-US" sz="1400" err="1"/>
            <a:t>duidelijk</a:t>
          </a:r>
          <a:r>
            <a:rPr lang="en-US" sz="1400"/>
            <a:t> of de </a:t>
          </a:r>
          <a:r>
            <a:rPr lang="en-US" sz="1400" err="1"/>
            <a:t>resultaten</a:t>
          </a:r>
          <a:r>
            <a:rPr lang="en-US" sz="1400"/>
            <a:t> </a:t>
          </a:r>
          <a:r>
            <a:rPr lang="en-US" sz="1400" err="1"/>
            <a:t>daadwerkelijk</a:t>
          </a:r>
          <a:r>
            <a:rPr lang="en-US" sz="1400"/>
            <a:t> </a:t>
          </a:r>
          <a:r>
            <a:rPr lang="en-US" sz="1400" err="1"/>
            <a:t>gehaald</a:t>
          </a:r>
          <a:r>
            <a:rPr lang="en-US" sz="1400"/>
            <a:t> </a:t>
          </a:r>
          <a:r>
            <a:rPr lang="en-US" sz="1400" err="1"/>
            <a:t>worden</a:t>
          </a:r>
          <a:r>
            <a:rPr lang="en-US" sz="1400"/>
            <a:t>.</a:t>
          </a:r>
        </a:p>
      </dgm:t>
    </dgm:pt>
    <dgm:pt modelId="{85DC2925-832B-46EA-922E-979FC9CBBFB6}" type="parTrans" cxnId="{AEFDE14B-D4A3-405B-851F-EFCE204E6365}">
      <dgm:prSet/>
      <dgm:spPr/>
      <dgm:t>
        <a:bodyPr/>
        <a:lstStyle/>
        <a:p>
          <a:endParaRPr lang="en-US"/>
        </a:p>
      </dgm:t>
    </dgm:pt>
    <dgm:pt modelId="{A4715110-372E-431F-852C-E84991625A0F}" type="sibTrans" cxnId="{AEFDE14B-D4A3-405B-851F-EFCE204E6365}">
      <dgm:prSet/>
      <dgm:spPr/>
      <dgm:t>
        <a:bodyPr/>
        <a:lstStyle/>
        <a:p>
          <a:endParaRPr lang="en-US"/>
        </a:p>
      </dgm:t>
    </dgm:pt>
    <dgm:pt modelId="{8E9804C6-1FF8-4FA4-A074-FC2AA9A05F75}">
      <dgm:prSet custT="1"/>
      <dgm:spPr/>
      <dgm:t>
        <a:bodyPr/>
        <a:lstStyle/>
        <a:p>
          <a:r>
            <a:rPr lang="nl-NL" sz="1400"/>
            <a:t>Resultaten afgelopen jaar:</a:t>
          </a:r>
        </a:p>
        <a:p>
          <a:r>
            <a:rPr lang="nl-NL" sz="1400"/>
            <a:t>- Project </a:t>
          </a:r>
          <a:r>
            <a:rPr lang="nl-NL" sz="1400" err="1"/>
            <a:t>pzp</a:t>
          </a:r>
          <a:endParaRPr lang="nl-NL" sz="1400"/>
        </a:p>
        <a:p>
          <a:r>
            <a:rPr lang="nl-NL" sz="1400"/>
            <a:t>-Palliakit</a:t>
          </a:r>
          <a:endParaRPr lang="en-US" sz="1400"/>
        </a:p>
      </dgm:t>
    </dgm:pt>
    <dgm:pt modelId="{9052AB0A-C8A5-4969-A616-223CFDA0625B}" type="parTrans" cxnId="{353B307A-4D74-430D-BE2B-531F6E8FA6E4}">
      <dgm:prSet/>
      <dgm:spPr/>
      <dgm:t>
        <a:bodyPr/>
        <a:lstStyle/>
        <a:p>
          <a:endParaRPr lang="en-US"/>
        </a:p>
      </dgm:t>
    </dgm:pt>
    <dgm:pt modelId="{0673718E-6844-40B6-BB52-900FBB026D4F}" type="sibTrans" cxnId="{353B307A-4D74-430D-BE2B-531F6E8FA6E4}">
      <dgm:prSet/>
      <dgm:spPr/>
      <dgm:t>
        <a:bodyPr/>
        <a:lstStyle/>
        <a:p>
          <a:endParaRPr lang="en-US"/>
        </a:p>
      </dgm:t>
    </dgm:pt>
    <dgm:pt modelId="{0F1D22A1-DDAF-405C-956D-65EFE02D09D8}" type="pres">
      <dgm:prSet presAssocID="{69F5D901-573A-4BCB-AC89-286ADF22DE6B}" presName="diagram" presStyleCnt="0">
        <dgm:presLayoutVars>
          <dgm:dir/>
          <dgm:resizeHandles val="exact"/>
        </dgm:presLayoutVars>
      </dgm:prSet>
      <dgm:spPr/>
    </dgm:pt>
    <dgm:pt modelId="{BB73502E-30CA-4380-8E08-2172A2D25D86}" type="pres">
      <dgm:prSet presAssocID="{6DE3D84B-D804-47D1-ACAB-09C56CA64635}" presName="node" presStyleLbl="node1" presStyleIdx="0" presStyleCnt="4">
        <dgm:presLayoutVars>
          <dgm:bulletEnabled val="1"/>
        </dgm:presLayoutVars>
      </dgm:prSet>
      <dgm:spPr/>
    </dgm:pt>
    <dgm:pt modelId="{63760921-F351-4584-899A-498DF1F97CBF}" type="pres">
      <dgm:prSet presAssocID="{5DC7FFCE-CB51-4072-A227-B0BABDD023B0}" presName="sibTrans" presStyleCnt="0"/>
      <dgm:spPr/>
    </dgm:pt>
    <dgm:pt modelId="{59EE4330-4C3D-44EB-8750-B93DA8CAC44F}" type="pres">
      <dgm:prSet presAssocID="{E5E97DC2-3566-4E70-81DC-59C3035A8EDC}" presName="node" presStyleLbl="node1" presStyleIdx="1" presStyleCnt="4">
        <dgm:presLayoutVars>
          <dgm:bulletEnabled val="1"/>
        </dgm:presLayoutVars>
      </dgm:prSet>
      <dgm:spPr/>
    </dgm:pt>
    <dgm:pt modelId="{7DAF653A-EAA0-4C7C-9BE2-5D52FCCAC959}" type="pres">
      <dgm:prSet presAssocID="{290D1595-54C8-4B67-BB5C-67139D40FC90}" presName="sibTrans" presStyleCnt="0"/>
      <dgm:spPr/>
    </dgm:pt>
    <dgm:pt modelId="{BABCE607-7FE0-46A7-A876-D9714615E36E}" type="pres">
      <dgm:prSet presAssocID="{BB3CFE0C-BBA2-4A3E-B7DF-F802C13D0A29}" presName="node" presStyleLbl="node1" presStyleIdx="2" presStyleCnt="4" custLinFactNeighborX="329" custLinFactNeighborY="-3572">
        <dgm:presLayoutVars>
          <dgm:bulletEnabled val="1"/>
        </dgm:presLayoutVars>
      </dgm:prSet>
      <dgm:spPr/>
    </dgm:pt>
    <dgm:pt modelId="{89B906F9-BFAF-410D-B651-71CAAF0980B6}" type="pres">
      <dgm:prSet presAssocID="{A4715110-372E-431F-852C-E84991625A0F}" presName="sibTrans" presStyleCnt="0"/>
      <dgm:spPr/>
    </dgm:pt>
    <dgm:pt modelId="{C27D2524-3331-4EC2-8245-B1F2BDC07F27}" type="pres">
      <dgm:prSet presAssocID="{8E9804C6-1FF8-4FA4-A074-FC2AA9A05F75}" presName="node" presStyleLbl="node1" presStyleIdx="3" presStyleCnt="4">
        <dgm:presLayoutVars>
          <dgm:bulletEnabled val="1"/>
        </dgm:presLayoutVars>
      </dgm:prSet>
      <dgm:spPr/>
    </dgm:pt>
  </dgm:ptLst>
  <dgm:cxnLst>
    <dgm:cxn modelId="{EABD1D0C-6B6F-4DF8-9DF6-65418A09209F}" srcId="{69F5D901-573A-4BCB-AC89-286ADF22DE6B}" destId="{E5E97DC2-3566-4E70-81DC-59C3035A8EDC}" srcOrd="1" destOrd="0" parTransId="{97F726F1-457E-48B5-81DF-E62ABBCCCC5A}" sibTransId="{290D1595-54C8-4B67-BB5C-67139D40FC90}"/>
    <dgm:cxn modelId="{6E26AE35-0C45-4781-89D0-CF7C65026006}" srcId="{69F5D901-573A-4BCB-AC89-286ADF22DE6B}" destId="{6DE3D84B-D804-47D1-ACAB-09C56CA64635}" srcOrd="0" destOrd="0" parTransId="{379FC679-0BD1-47F8-9A5E-09F3C91469D3}" sibTransId="{5DC7FFCE-CB51-4072-A227-B0BABDD023B0}"/>
    <dgm:cxn modelId="{8634EA65-585A-4D99-975A-6B7FB9229AFB}" type="presOf" srcId="{69F5D901-573A-4BCB-AC89-286ADF22DE6B}" destId="{0F1D22A1-DDAF-405C-956D-65EFE02D09D8}" srcOrd="0" destOrd="0" presId="urn:microsoft.com/office/officeart/2005/8/layout/default"/>
    <dgm:cxn modelId="{2634CF6A-D6CE-4B3C-A21D-9D26D90FC3AB}" type="presOf" srcId="{8E9804C6-1FF8-4FA4-A074-FC2AA9A05F75}" destId="{C27D2524-3331-4EC2-8245-B1F2BDC07F27}" srcOrd="0" destOrd="0" presId="urn:microsoft.com/office/officeart/2005/8/layout/default"/>
    <dgm:cxn modelId="{AEFDE14B-D4A3-405B-851F-EFCE204E6365}" srcId="{69F5D901-573A-4BCB-AC89-286ADF22DE6B}" destId="{BB3CFE0C-BBA2-4A3E-B7DF-F802C13D0A29}" srcOrd="2" destOrd="0" parTransId="{85DC2925-832B-46EA-922E-979FC9CBBFB6}" sibTransId="{A4715110-372E-431F-852C-E84991625A0F}"/>
    <dgm:cxn modelId="{353B307A-4D74-430D-BE2B-531F6E8FA6E4}" srcId="{69F5D901-573A-4BCB-AC89-286ADF22DE6B}" destId="{8E9804C6-1FF8-4FA4-A074-FC2AA9A05F75}" srcOrd="3" destOrd="0" parTransId="{9052AB0A-C8A5-4969-A616-223CFDA0625B}" sibTransId="{0673718E-6844-40B6-BB52-900FBB026D4F}"/>
    <dgm:cxn modelId="{C194F67D-54B7-4930-B017-5245C401F1B3}" type="presOf" srcId="{6DE3D84B-D804-47D1-ACAB-09C56CA64635}" destId="{BB73502E-30CA-4380-8E08-2172A2D25D86}" srcOrd="0" destOrd="0" presId="urn:microsoft.com/office/officeart/2005/8/layout/default"/>
    <dgm:cxn modelId="{603C23FC-6302-48B6-A1F0-5AAB834946EA}" type="presOf" srcId="{E5E97DC2-3566-4E70-81DC-59C3035A8EDC}" destId="{59EE4330-4C3D-44EB-8750-B93DA8CAC44F}" srcOrd="0" destOrd="0" presId="urn:microsoft.com/office/officeart/2005/8/layout/default"/>
    <dgm:cxn modelId="{1A618EFF-7C52-4BDF-B121-FA73CD8D1270}" type="presOf" srcId="{BB3CFE0C-BBA2-4A3E-B7DF-F802C13D0A29}" destId="{BABCE607-7FE0-46A7-A876-D9714615E36E}" srcOrd="0" destOrd="0" presId="urn:microsoft.com/office/officeart/2005/8/layout/default"/>
    <dgm:cxn modelId="{862CC7C3-439B-4804-95AC-FC90479037A1}" type="presParOf" srcId="{0F1D22A1-DDAF-405C-956D-65EFE02D09D8}" destId="{BB73502E-30CA-4380-8E08-2172A2D25D86}" srcOrd="0" destOrd="0" presId="urn:microsoft.com/office/officeart/2005/8/layout/default"/>
    <dgm:cxn modelId="{E78FE5D8-2FD5-45C7-BC37-A290F16DBC60}" type="presParOf" srcId="{0F1D22A1-DDAF-405C-956D-65EFE02D09D8}" destId="{63760921-F351-4584-899A-498DF1F97CBF}" srcOrd="1" destOrd="0" presId="urn:microsoft.com/office/officeart/2005/8/layout/default"/>
    <dgm:cxn modelId="{AE2DB11C-23D1-4090-A747-36EB918A92A8}" type="presParOf" srcId="{0F1D22A1-DDAF-405C-956D-65EFE02D09D8}" destId="{59EE4330-4C3D-44EB-8750-B93DA8CAC44F}" srcOrd="2" destOrd="0" presId="urn:microsoft.com/office/officeart/2005/8/layout/default"/>
    <dgm:cxn modelId="{A3189AE8-F7E5-40A9-8548-72007B3BF47D}" type="presParOf" srcId="{0F1D22A1-DDAF-405C-956D-65EFE02D09D8}" destId="{7DAF653A-EAA0-4C7C-9BE2-5D52FCCAC959}" srcOrd="3" destOrd="0" presId="urn:microsoft.com/office/officeart/2005/8/layout/default"/>
    <dgm:cxn modelId="{FE03796C-B4C6-4D91-AD93-1F4C3ADE35BE}" type="presParOf" srcId="{0F1D22A1-DDAF-405C-956D-65EFE02D09D8}" destId="{BABCE607-7FE0-46A7-A876-D9714615E36E}" srcOrd="4" destOrd="0" presId="urn:microsoft.com/office/officeart/2005/8/layout/default"/>
    <dgm:cxn modelId="{C4E75217-7A04-4CB6-9B1D-1259D83D3DC5}" type="presParOf" srcId="{0F1D22A1-DDAF-405C-956D-65EFE02D09D8}" destId="{89B906F9-BFAF-410D-B651-71CAAF0980B6}" srcOrd="5" destOrd="0" presId="urn:microsoft.com/office/officeart/2005/8/layout/default"/>
    <dgm:cxn modelId="{95F65C8A-B414-471F-A607-694642036222}" type="presParOf" srcId="{0F1D22A1-DDAF-405C-956D-65EFE02D09D8}" destId="{C27D2524-3331-4EC2-8245-B1F2BDC07F27}"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F5D901-573A-4BCB-AC89-286ADF22DE6B}"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4C294425-72AB-4F8A-A93C-D23E8A2C68BD}">
      <dgm:prSet/>
      <dgm:spPr/>
      <dgm:t>
        <a:bodyPr/>
        <a:lstStyle/>
        <a:p>
          <a:r>
            <a:rPr lang="nl-NL"/>
            <a:t>Zorgverleners (64%) en bestuurders (86%) vinden dat deelnemers hun verantwoordelijkheid nemen. </a:t>
          </a:r>
        </a:p>
      </dgm:t>
    </dgm:pt>
    <dgm:pt modelId="{2FD7209D-98EF-4252-9CE7-1E8B508AC3CC}" type="parTrans" cxnId="{0308ACE7-E9F7-4474-8D66-79E3DB52A07D}">
      <dgm:prSet/>
      <dgm:spPr/>
      <dgm:t>
        <a:bodyPr/>
        <a:lstStyle/>
        <a:p>
          <a:endParaRPr lang="nl-NL"/>
        </a:p>
      </dgm:t>
    </dgm:pt>
    <dgm:pt modelId="{5BE015B0-A501-454A-92D8-F64B67DB76ED}" type="sibTrans" cxnId="{0308ACE7-E9F7-4474-8D66-79E3DB52A07D}">
      <dgm:prSet/>
      <dgm:spPr/>
      <dgm:t>
        <a:bodyPr/>
        <a:lstStyle/>
        <a:p>
          <a:endParaRPr lang="nl-NL"/>
        </a:p>
      </dgm:t>
    </dgm:pt>
    <dgm:pt modelId="{627140FA-3C9A-4981-A461-51227A6BB6AA}">
      <dgm:prSet/>
      <dgm:spPr/>
      <dgm:t>
        <a:bodyPr/>
        <a:lstStyle/>
        <a:p>
          <a:r>
            <a:rPr lang="nl-NL"/>
            <a:t>Belangen wordt niet specifiek besproken. </a:t>
          </a:r>
        </a:p>
      </dgm:t>
    </dgm:pt>
    <dgm:pt modelId="{E33C9058-DAEA-4F34-88F9-6AC1CDAB1B24}" type="parTrans" cxnId="{33141489-3092-4EAD-99E4-57DC742A2FCD}">
      <dgm:prSet/>
      <dgm:spPr/>
      <dgm:t>
        <a:bodyPr/>
        <a:lstStyle/>
        <a:p>
          <a:endParaRPr lang="nl-NL"/>
        </a:p>
      </dgm:t>
    </dgm:pt>
    <dgm:pt modelId="{1FE6123C-F4D3-4FE9-AA06-D8548E9E789C}" type="sibTrans" cxnId="{33141489-3092-4EAD-99E4-57DC742A2FCD}">
      <dgm:prSet/>
      <dgm:spPr/>
      <dgm:t>
        <a:bodyPr/>
        <a:lstStyle/>
        <a:p>
          <a:endParaRPr lang="nl-NL"/>
        </a:p>
      </dgm:t>
    </dgm:pt>
    <dgm:pt modelId="{2AE8C670-4340-4B98-A131-1FC5FFF47475}">
      <dgm:prSet/>
      <dgm:spPr/>
      <dgm:t>
        <a:bodyPr/>
        <a:lstStyle/>
        <a:p>
          <a:r>
            <a:rPr lang="nl-NL"/>
            <a:t>Jaarlijks wordt een ronde langs organisaties gemaakt.</a:t>
          </a:r>
        </a:p>
      </dgm:t>
    </dgm:pt>
    <dgm:pt modelId="{16B0A2D4-6BF8-407D-87F9-D4CFC3F4CAC2}" type="parTrans" cxnId="{7D870194-C260-40EF-96C4-533DE22C9457}">
      <dgm:prSet/>
      <dgm:spPr/>
      <dgm:t>
        <a:bodyPr/>
        <a:lstStyle/>
        <a:p>
          <a:endParaRPr lang="nl-NL"/>
        </a:p>
      </dgm:t>
    </dgm:pt>
    <dgm:pt modelId="{BD89779F-8C06-4D87-9133-F6A341F78AD1}" type="sibTrans" cxnId="{7D870194-C260-40EF-96C4-533DE22C9457}">
      <dgm:prSet/>
      <dgm:spPr/>
      <dgm:t>
        <a:bodyPr/>
        <a:lstStyle/>
        <a:p>
          <a:endParaRPr lang="nl-NL"/>
        </a:p>
      </dgm:t>
    </dgm:pt>
    <dgm:pt modelId="{99555070-F73C-4364-AE48-2D0F5872A7B8}">
      <dgm:prSet/>
      <dgm:spPr/>
      <dgm:t>
        <a:bodyPr/>
        <a:lstStyle/>
        <a:p>
          <a:pPr rtl="0"/>
          <a:r>
            <a:rPr lang="nl-NL"/>
            <a:t>Er </a:t>
          </a:r>
          <a:r>
            <a:rPr lang="nl-NL">
              <a:solidFill>
                <a:schemeClr val="bg1"/>
              </a:solidFill>
            </a:rPr>
            <a:t>komt naar voren dat </a:t>
          </a:r>
          <a:r>
            <a:rPr lang="nl-NL" strike="sngStrike">
              <a:solidFill>
                <a:schemeClr val="bg1"/>
              </a:solidFill>
            </a:rPr>
            <a:t>hier </a:t>
          </a:r>
          <a:r>
            <a:rPr lang="nl-NL">
              <a:solidFill>
                <a:schemeClr val="bg1"/>
              </a:solidFill>
            </a:rPr>
            <a:t>behoefte</a:t>
          </a:r>
          <a:r>
            <a:rPr lang="nl-NL">
              <a:solidFill>
                <a:schemeClr val="bg1"/>
              </a:solidFill>
              <a:latin typeface="Poppins"/>
            </a:rPr>
            <a:t> </a:t>
          </a:r>
          <a:r>
            <a:rPr lang="nl-NL">
              <a:solidFill>
                <a:schemeClr val="bg1"/>
              </a:solidFill>
            </a:rPr>
            <a:t>is </a:t>
          </a:r>
          <a:r>
            <a:rPr lang="nl-NL">
              <a:solidFill>
                <a:schemeClr val="bg1"/>
              </a:solidFill>
              <a:latin typeface="Poppins"/>
            </a:rPr>
            <a:t>aan bespreken belangen </a:t>
          </a:r>
          <a:r>
            <a:rPr lang="nl-NL">
              <a:solidFill>
                <a:schemeClr val="bg1"/>
              </a:solidFill>
            </a:rPr>
            <a:t>(transparantie</a:t>
          </a:r>
          <a:r>
            <a:rPr lang="nl-NL"/>
            <a:t>, verdeling van geld, gevoel van concurrentie en organisatiebelang boven belang patiënt).</a:t>
          </a:r>
        </a:p>
      </dgm:t>
    </dgm:pt>
    <dgm:pt modelId="{98C64E32-8A9B-4B42-8B18-34249950AFC4}" type="sibTrans" cxnId="{BA4D2AA4-63B0-4557-8BA6-BBA8A2EB011A}">
      <dgm:prSet/>
      <dgm:spPr/>
      <dgm:t>
        <a:bodyPr/>
        <a:lstStyle/>
        <a:p>
          <a:endParaRPr lang="nl-NL"/>
        </a:p>
      </dgm:t>
    </dgm:pt>
    <dgm:pt modelId="{728DBB23-963D-405A-8FA2-3A6F3539976D}" type="parTrans" cxnId="{BA4D2AA4-63B0-4557-8BA6-BBA8A2EB011A}">
      <dgm:prSet/>
      <dgm:spPr/>
      <dgm:t>
        <a:bodyPr/>
        <a:lstStyle/>
        <a:p>
          <a:endParaRPr lang="nl-NL"/>
        </a:p>
      </dgm:t>
    </dgm:pt>
    <dgm:pt modelId="{945E33E5-5437-4748-9F15-1ECCC6192F4A}" type="pres">
      <dgm:prSet presAssocID="{69F5D901-573A-4BCB-AC89-286ADF22DE6B}" presName="diagram" presStyleCnt="0">
        <dgm:presLayoutVars>
          <dgm:dir/>
          <dgm:resizeHandles val="exact"/>
        </dgm:presLayoutVars>
      </dgm:prSet>
      <dgm:spPr/>
    </dgm:pt>
    <dgm:pt modelId="{8FAC8F6D-ADDF-42C3-B4E6-599DD84EDF9C}" type="pres">
      <dgm:prSet presAssocID="{627140FA-3C9A-4981-A461-51227A6BB6AA}" presName="node" presStyleLbl="node1" presStyleIdx="0" presStyleCnt="4">
        <dgm:presLayoutVars>
          <dgm:bulletEnabled val="1"/>
        </dgm:presLayoutVars>
      </dgm:prSet>
      <dgm:spPr/>
    </dgm:pt>
    <dgm:pt modelId="{E8DD0055-07D9-4E2C-9DB9-E54318FE26F2}" type="pres">
      <dgm:prSet presAssocID="{1FE6123C-F4D3-4FE9-AA06-D8548E9E789C}" presName="sibTrans" presStyleCnt="0"/>
      <dgm:spPr/>
    </dgm:pt>
    <dgm:pt modelId="{1A92F250-F5B6-4894-8EAB-E7D6DFF6E172}" type="pres">
      <dgm:prSet presAssocID="{2AE8C670-4340-4B98-A131-1FC5FFF47475}" presName="node" presStyleLbl="node1" presStyleIdx="1" presStyleCnt="4">
        <dgm:presLayoutVars>
          <dgm:bulletEnabled val="1"/>
        </dgm:presLayoutVars>
      </dgm:prSet>
      <dgm:spPr/>
    </dgm:pt>
    <dgm:pt modelId="{C9FF1620-6790-47B4-993E-C9D3D96B1002}" type="pres">
      <dgm:prSet presAssocID="{BD89779F-8C06-4D87-9133-F6A341F78AD1}" presName="sibTrans" presStyleCnt="0"/>
      <dgm:spPr/>
    </dgm:pt>
    <dgm:pt modelId="{B8FCF5A3-EF59-434A-BB6D-05DAA578F2D4}" type="pres">
      <dgm:prSet presAssocID="{4C294425-72AB-4F8A-A93C-D23E8A2C68BD}" presName="node" presStyleLbl="node1" presStyleIdx="2" presStyleCnt="4">
        <dgm:presLayoutVars>
          <dgm:bulletEnabled val="1"/>
        </dgm:presLayoutVars>
      </dgm:prSet>
      <dgm:spPr/>
    </dgm:pt>
    <dgm:pt modelId="{954BDDC5-3393-452D-ABC3-E3E15FA82403}" type="pres">
      <dgm:prSet presAssocID="{5BE015B0-A501-454A-92D8-F64B67DB76ED}" presName="sibTrans" presStyleCnt="0"/>
      <dgm:spPr/>
    </dgm:pt>
    <dgm:pt modelId="{4C07D75F-A06B-47F2-BED3-29553591CDC4}" type="pres">
      <dgm:prSet presAssocID="{99555070-F73C-4364-AE48-2D0F5872A7B8}" presName="node" presStyleLbl="node1" presStyleIdx="3" presStyleCnt="4">
        <dgm:presLayoutVars>
          <dgm:bulletEnabled val="1"/>
        </dgm:presLayoutVars>
      </dgm:prSet>
      <dgm:spPr/>
    </dgm:pt>
  </dgm:ptLst>
  <dgm:cxnLst>
    <dgm:cxn modelId="{F139A930-BCF9-4D79-9C59-532A49220B40}" type="presOf" srcId="{627140FA-3C9A-4981-A461-51227A6BB6AA}" destId="{8FAC8F6D-ADDF-42C3-B4E6-599DD84EDF9C}" srcOrd="0" destOrd="0" presId="urn:microsoft.com/office/officeart/2005/8/layout/default"/>
    <dgm:cxn modelId="{B665A786-6C98-4FD2-8108-286E355AD789}" type="presOf" srcId="{99555070-F73C-4364-AE48-2D0F5872A7B8}" destId="{4C07D75F-A06B-47F2-BED3-29553591CDC4}" srcOrd="0" destOrd="0" presId="urn:microsoft.com/office/officeart/2005/8/layout/default"/>
    <dgm:cxn modelId="{33141489-3092-4EAD-99E4-57DC742A2FCD}" srcId="{69F5D901-573A-4BCB-AC89-286ADF22DE6B}" destId="{627140FA-3C9A-4981-A461-51227A6BB6AA}" srcOrd="0" destOrd="0" parTransId="{E33C9058-DAEA-4F34-88F9-6AC1CDAB1B24}" sibTransId="{1FE6123C-F4D3-4FE9-AA06-D8548E9E789C}"/>
    <dgm:cxn modelId="{7D870194-C260-40EF-96C4-533DE22C9457}" srcId="{69F5D901-573A-4BCB-AC89-286ADF22DE6B}" destId="{2AE8C670-4340-4B98-A131-1FC5FFF47475}" srcOrd="1" destOrd="0" parTransId="{16B0A2D4-6BF8-407D-87F9-D4CFC3F4CAC2}" sibTransId="{BD89779F-8C06-4D87-9133-F6A341F78AD1}"/>
    <dgm:cxn modelId="{BA4D2AA4-63B0-4557-8BA6-BBA8A2EB011A}" srcId="{69F5D901-573A-4BCB-AC89-286ADF22DE6B}" destId="{99555070-F73C-4364-AE48-2D0F5872A7B8}" srcOrd="3" destOrd="0" parTransId="{728DBB23-963D-405A-8FA2-3A6F3539976D}" sibTransId="{98C64E32-8A9B-4B42-8B18-34249950AFC4}"/>
    <dgm:cxn modelId="{7E9468B2-F8B0-4E63-B412-D094A2C93296}" type="presOf" srcId="{2AE8C670-4340-4B98-A131-1FC5FFF47475}" destId="{1A92F250-F5B6-4894-8EAB-E7D6DFF6E172}" srcOrd="0" destOrd="0" presId="urn:microsoft.com/office/officeart/2005/8/layout/default"/>
    <dgm:cxn modelId="{1476F6E5-F39E-43EB-BB1F-A54EA6ABABD2}" type="presOf" srcId="{4C294425-72AB-4F8A-A93C-D23E8A2C68BD}" destId="{B8FCF5A3-EF59-434A-BB6D-05DAA578F2D4}" srcOrd="0" destOrd="0" presId="urn:microsoft.com/office/officeart/2005/8/layout/default"/>
    <dgm:cxn modelId="{0308ACE7-E9F7-4474-8D66-79E3DB52A07D}" srcId="{69F5D901-573A-4BCB-AC89-286ADF22DE6B}" destId="{4C294425-72AB-4F8A-A93C-D23E8A2C68BD}" srcOrd="2" destOrd="0" parTransId="{2FD7209D-98EF-4252-9CE7-1E8B508AC3CC}" sibTransId="{5BE015B0-A501-454A-92D8-F64B67DB76ED}"/>
    <dgm:cxn modelId="{338757FA-1F86-474E-A87F-8DE84E3EBEAD}" type="presOf" srcId="{69F5D901-573A-4BCB-AC89-286ADF22DE6B}" destId="{945E33E5-5437-4748-9F15-1ECCC6192F4A}" srcOrd="0" destOrd="0" presId="urn:microsoft.com/office/officeart/2005/8/layout/default"/>
    <dgm:cxn modelId="{8E8D96B7-794E-45CB-A28D-8CF6C2CBC5E6}" type="presParOf" srcId="{945E33E5-5437-4748-9F15-1ECCC6192F4A}" destId="{8FAC8F6D-ADDF-42C3-B4E6-599DD84EDF9C}" srcOrd="0" destOrd="0" presId="urn:microsoft.com/office/officeart/2005/8/layout/default"/>
    <dgm:cxn modelId="{03829DB0-744F-44F0-8CA9-ED293A32751E}" type="presParOf" srcId="{945E33E5-5437-4748-9F15-1ECCC6192F4A}" destId="{E8DD0055-07D9-4E2C-9DB9-E54318FE26F2}" srcOrd="1" destOrd="0" presId="urn:microsoft.com/office/officeart/2005/8/layout/default"/>
    <dgm:cxn modelId="{282E8BE9-FECF-42B2-BDFC-2C8E16EB4A51}" type="presParOf" srcId="{945E33E5-5437-4748-9F15-1ECCC6192F4A}" destId="{1A92F250-F5B6-4894-8EAB-E7D6DFF6E172}" srcOrd="2" destOrd="0" presId="urn:microsoft.com/office/officeart/2005/8/layout/default"/>
    <dgm:cxn modelId="{D2B4DDA7-65BA-4881-B882-227A5DE7556A}" type="presParOf" srcId="{945E33E5-5437-4748-9F15-1ECCC6192F4A}" destId="{C9FF1620-6790-47B4-993E-C9D3D96B1002}" srcOrd="3" destOrd="0" presId="urn:microsoft.com/office/officeart/2005/8/layout/default"/>
    <dgm:cxn modelId="{21A5751F-14DF-4F77-95FA-FB6AD57D5066}" type="presParOf" srcId="{945E33E5-5437-4748-9F15-1ECCC6192F4A}" destId="{B8FCF5A3-EF59-434A-BB6D-05DAA578F2D4}" srcOrd="4" destOrd="0" presId="urn:microsoft.com/office/officeart/2005/8/layout/default"/>
    <dgm:cxn modelId="{21B3975C-E6D4-4A09-B5C0-71168B990059}" type="presParOf" srcId="{945E33E5-5437-4748-9F15-1ECCC6192F4A}" destId="{954BDDC5-3393-452D-ABC3-E3E15FA82403}" srcOrd="5" destOrd="0" presId="urn:microsoft.com/office/officeart/2005/8/layout/default"/>
    <dgm:cxn modelId="{61B641ED-B233-4F4C-A8F5-DD2DDC9C2072}" type="presParOf" srcId="{945E33E5-5437-4748-9F15-1ECCC6192F4A}" destId="{4C07D75F-A06B-47F2-BED3-29553591CDC4}"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9F5D901-573A-4BCB-AC89-286ADF22DE6B}" type="doc">
      <dgm:prSet loTypeId="urn:microsoft.com/office/officeart/2005/8/layout/default" loCatId="list" qsTypeId="urn:microsoft.com/office/officeart/2005/8/quickstyle/simple5" qsCatId="simple" csTypeId="urn:microsoft.com/office/officeart/2005/8/colors/accent2_2" csCatId="accent2" phldr="1"/>
      <dgm:spPr/>
      <dgm:t>
        <a:bodyPr/>
        <a:lstStyle/>
        <a:p>
          <a:endParaRPr lang="en-US"/>
        </a:p>
      </dgm:t>
    </dgm:pt>
    <dgm:pt modelId="{4C294425-72AB-4F8A-A93C-D23E8A2C68BD}">
      <dgm:prSet/>
      <dgm:spPr/>
      <dgm:t>
        <a:bodyPr/>
        <a:lstStyle/>
        <a:p>
          <a:r>
            <a:rPr lang="nl-NL"/>
            <a:t>Samenwerking met andere netwerken vindt incidenteel en op basis van thema plaats. Partijen die gemist worden zijn onderwijs, apothekers, paramedici en mantelzorgers.</a:t>
          </a:r>
        </a:p>
      </dgm:t>
    </dgm:pt>
    <dgm:pt modelId="{2FD7209D-98EF-4252-9CE7-1E8B508AC3CC}" type="parTrans" cxnId="{0308ACE7-E9F7-4474-8D66-79E3DB52A07D}">
      <dgm:prSet/>
      <dgm:spPr/>
      <dgm:t>
        <a:bodyPr/>
        <a:lstStyle/>
        <a:p>
          <a:endParaRPr lang="nl-NL"/>
        </a:p>
      </dgm:t>
    </dgm:pt>
    <dgm:pt modelId="{5BE015B0-A501-454A-92D8-F64B67DB76ED}" type="sibTrans" cxnId="{0308ACE7-E9F7-4474-8D66-79E3DB52A07D}">
      <dgm:prSet/>
      <dgm:spPr/>
      <dgm:t>
        <a:bodyPr/>
        <a:lstStyle/>
        <a:p>
          <a:endParaRPr lang="nl-NL"/>
        </a:p>
      </dgm:t>
    </dgm:pt>
    <dgm:pt modelId="{627140FA-3C9A-4981-A461-51227A6BB6AA}">
      <dgm:prSet/>
      <dgm:spPr/>
      <dgm:t>
        <a:bodyPr/>
        <a:lstStyle/>
        <a:p>
          <a:r>
            <a:rPr lang="nl-NL"/>
            <a:t>Het gedeeld eigenaarschap van het netwerk wordt niet altijd als gezamenlijk ervaren. </a:t>
          </a:r>
        </a:p>
      </dgm:t>
    </dgm:pt>
    <dgm:pt modelId="{E33C9058-DAEA-4F34-88F9-6AC1CDAB1B24}" type="parTrans" cxnId="{33141489-3092-4EAD-99E4-57DC742A2FCD}">
      <dgm:prSet/>
      <dgm:spPr/>
      <dgm:t>
        <a:bodyPr/>
        <a:lstStyle/>
        <a:p>
          <a:endParaRPr lang="nl-NL"/>
        </a:p>
      </dgm:t>
    </dgm:pt>
    <dgm:pt modelId="{1FE6123C-F4D3-4FE9-AA06-D8548E9E789C}" type="sibTrans" cxnId="{33141489-3092-4EAD-99E4-57DC742A2FCD}">
      <dgm:prSet/>
      <dgm:spPr/>
      <dgm:t>
        <a:bodyPr/>
        <a:lstStyle/>
        <a:p>
          <a:endParaRPr lang="nl-NL"/>
        </a:p>
      </dgm:t>
    </dgm:pt>
    <dgm:pt modelId="{2AE8C670-4340-4B98-A131-1FC5FFF47475}">
      <dgm:prSet/>
      <dgm:spPr/>
      <dgm:t>
        <a:bodyPr/>
        <a:lstStyle/>
        <a:p>
          <a:r>
            <a:rPr lang="nl-NL"/>
            <a:t>Voor de netwerkcoördinatoren is het veel werk om de leden te motiveren. </a:t>
          </a:r>
        </a:p>
      </dgm:t>
    </dgm:pt>
    <dgm:pt modelId="{16B0A2D4-6BF8-407D-87F9-D4CFC3F4CAC2}" type="parTrans" cxnId="{7D870194-C260-40EF-96C4-533DE22C9457}">
      <dgm:prSet/>
      <dgm:spPr/>
      <dgm:t>
        <a:bodyPr/>
        <a:lstStyle/>
        <a:p>
          <a:endParaRPr lang="nl-NL"/>
        </a:p>
      </dgm:t>
    </dgm:pt>
    <dgm:pt modelId="{BD89779F-8C06-4D87-9133-F6A341F78AD1}" type="sibTrans" cxnId="{7D870194-C260-40EF-96C4-533DE22C9457}">
      <dgm:prSet/>
      <dgm:spPr/>
      <dgm:t>
        <a:bodyPr/>
        <a:lstStyle/>
        <a:p>
          <a:endParaRPr lang="nl-NL"/>
        </a:p>
      </dgm:t>
    </dgm:pt>
    <dgm:pt modelId="{99555070-F73C-4364-AE48-2D0F5872A7B8}">
      <dgm:prSet/>
      <dgm:spPr/>
      <dgm:t>
        <a:bodyPr/>
        <a:lstStyle/>
        <a:p>
          <a:r>
            <a:rPr lang="nl-NL"/>
            <a:t>Hoge score op vertrouwen binnen het netwerk door zorgverleners.</a:t>
          </a:r>
        </a:p>
      </dgm:t>
    </dgm:pt>
    <dgm:pt modelId="{98C64E32-8A9B-4B42-8B18-34249950AFC4}" type="sibTrans" cxnId="{BA4D2AA4-63B0-4557-8BA6-BBA8A2EB011A}">
      <dgm:prSet/>
      <dgm:spPr/>
      <dgm:t>
        <a:bodyPr/>
        <a:lstStyle/>
        <a:p>
          <a:endParaRPr lang="nl-NL"/>
        </a:p>
      </dgm:t>
    </dgm:pt>
    <dgm:pt modelId="{728DBB23-963D-405A-8FA2-3A6F3539976D}" type="parTrans" cxnId="{BA4D2AA4-63B0-4557-8BA6-BBA8A2EB011A}">
      <dgm:prSet/>
      <dgm:spPr/>
      <dgm:t>
        <a:bodyPr/>
        <a:lstStyle/>
        <a:p>
          <a:endParaRPr lang="nl-NL"/>
        </a:p>
      </dgm:t>
    </dgm:pt>
    <dgm:pt modelId="{945E33E5-5437-4748-9F15-1ECCC6192F4A}" type="pres">
      <dgm:prSet presAssocID="{69F5D901-573A-4BCB-AC89-286ADF22DE6B}" presName="diagram" presStyleCnt="0">
        <dgm:presLayoutVars>
          <dgm:dir/>
          <dgm:resizeHandles val="exact"/>
        </dgm:presLayoutVars>
      </dgm:prSet>
      <dgm:spPr/>
    </dgm:pt>
    <dgm:pt modelId="{8FAC8F6D-ADDF-42C3-B4E6-599DD84EDF9C}" type="pres">
      <dgm:prSet presAssocID="{627140FA-3C9A-4981-A461-51227A6BB6AA}" presName="node" presStyleLbl="node1" presStyleIdx="0" presStyleCnt="4">
        <dgm:presLayoutVars>
          <dgm:bulletEnabled val="1"/>
        </dgm:presLayoutVars>
      </dgm:prSet>
      <dgm:spPr/>
    </dgm:pt>
    <dgm:pt modelId="{E8DD0055-07D9-4E2C-9DB9-E54318FE26F2}" type="pres">
      <dgm:prSet presAssocID="{1FE6123C-F4D3-4FE9-AA06-D8548E9E789C}" presName="sibTrans" presStyleCnt="0"/>
      <dgm:spPr/>
    </dgm:pt>
    <dgm:pt modelId="{1A92F250-F5B6-4894-8EAB-E7D6DFF6E172}" type="pres">
      <dgm:prSet presAssocID="{2AE8C670-4340-4B98-A131-1FC5FFF47475}" presName="node" presStyleLbl="node1" presStyleIdx="1" presStyleCnt="4">
        <dgm:presLayoutVars>
          <dgm:bulletEnabled val="1"/>
        </dgm:presLayoutVars>
      </dgm:prSet>
      <dgm:spPr/>
    </dgm:pt>
    <dgm:pt modelId="{C9FF1620-6790-47B4-993E-C9D3D96B1002}" type="pres">
      <dgm:prSet presAssocID="{BD89779F-8C06-4D87-9133-F6A341F78AD1}" presName="sibTrans" presStyleCnt="0"/>
      <dgm:spPr/>
    </dgm:pt>
    <dgm:pt modelId="{B8FCF5A3-EF59-434A-BB6D-05DAA578F2D4}" type="pres">
      <dgm:prSet presAssocID="{4C294425-72AB-4F8A-A93C-D23E8A2C68BD}" presName="node" presStyleLbl="node1" presStyleIdx="2" presStyleCnt="4">
        <dgm:presLayoutVars>
          <dgm:bulletEnabled val="1"/>
        </dgm:presLayoutVars>
      </dgm:prSet>
      <dgm:spPr/>
    </dgm:pt>
    <dgm:pt modelId="{954BDDC5-3393-452D-ABC3-E3E15FA82403}" type="pres">
      <dgm:prSet presAssocID="{5BE015B0-A501-454A-92D8-F64B67DB76ED}" presName="sibTrans" presStyleCnt="0"/>
      <dgm:spPr/>
    </dgm:pt>
    <dgm:pt modelId="{4C07D75F-A06B-47F2-BED3-29553591CDC4}" type="pres">
      <dgm:prSet presAssocID="{99555070-F73C-4364-AE48-2D0F5872A7B8}" presName="node" presStyleLbl="node1" presStyleIdx="3" presStyleCnt="4">
        <dgm:presLayoutVars>
          <dgm:bulletEnabled val="1"/>
        </dgm:presLayoutVars>
      </dgm:prSet>
      <dgm:spPr/>
    </dgm:pt>
  </dgm:ptLst>
  <dgm:cxnLst>
    <dgm:cxn modelId="{F139A930-BCF9-4D79-9C59-532A49220B40}" type="presOf" srcId="{627140FA-3C9A-4981-A461-51227A6BB6AA}" destId="{8FAC8F6D-ADDF-42C3-B4E6-599DD84EDF9C}" srcOrd="0" destOrd="0" presId="urn:microsoft.com/office/officeart/2005/8/layout/default"/>
    <dgm:cxn modelId="{B665A786-6C98-4FD2-8108-286E355AD789}" type="presOf" srcId="{99555070-F73C-4364-AE48-2D0F5872A7B8}" destId="{4C07D75F-A06B-47F2-BED3-29553591CDC4}" srcOrd="0" destOrd="0" presId="urn:microsoft.com/office/officeart/2005/8/layout/default"/>
    <dgm:cxn modelId="{33141489-3092-4EAD-99E4-57DC742A2FCD}" srcId="{69F5D901-573A-4BCB-AC89-286ADF22DE6B}" destId="{627140FA-3C9A-4981-A461-51227A6BB6AA}" srcOrd="0" destOrd="0" parTransId="{E33C9058-DAEA-4F34-88F9-6AC1CDAB1B24}" sibTransId="{1FE6123C-F4D3-4FE9-AA06-D8548E9E789C}"/>
    <dgm:cxn modelId="{7D870194-C260-40EF-96C4-533DE22C9457}" srcId="{69F5D901-573A-4BCB-AC89-286ADF22DE6B}" destId="{2AE8C670-4340-4B98-A131-1FC5FFF47475}" srcOrd="1" destOrd="0" parTransId="{16B0A2D4-6BF8-407D-87F9-D4CFC3F4CAC2}" sibTransId="{BD89779F-8C06-4D87-9133-F6A341F78AD1}"/>
    <dgm:cxn modelId="{BA4D2AA4-63B0-4557-8BA6-BBA8A2EB011A}" srcId="{69F5D901-573A-4BCB-AC89-286ADF22DE6B}" destId="{99555070-F73C-4364-AE48-2D0F5872A7B8}" srcOrd="3" destOrd="0" parTransId="{728DBB23-963D-405A-8FA2-3A6F3539976D}" sibTransId="{98C64E32-8A9B-4B42-8B18-34249950AFC4}"/>
    <dgm:cxn modelId="{7E9468B2-F8B0-4E63-B412-D094A2C93296}" type="presOf" srcId="{2AE8C670-4340-4B98-A131-1FC5FFF47475}" destId="{1A92F250-F5B6-4894-8EAB-E7D6DFF6E172}" srcOrd="0" destOrd="0" presId="urn:microsoft.com/office/officeart/2005/8/layout/default"/>
    <dgm:cxn modelId="{1476F6E5-F39E-43EB-BB1F-A54EA6ABABD2}" type="presOf" srcId="{4C294425-72AB-4F8A-A93C-D23E8A2C68BD}" destId="{B8FCF5A3-EF59-434A-BB6D-05DAA578F2D4}" srcOrd="0" destOrd="0" presId="urn:microsoft.com/office/officeart/2005/8/layout/default"/>
    <dgm:cxn modelId="{0308ACE7-E9F7-4474-8D66-79E3DB52A07D}" srcId="{69F5D901-573A-4BCB-AC89-286ADF22DE6B}" destId="{4C294425-72AB-4F8A-A93C-D23E8A2C68BD}" srcOrd="2" destOrd="0" parTransId="{2FD7209D-98EF-4252-9CE7-1E8B508AC3CC}" sibTransId="{5BE015B0-A501-454A-92D8-F64B67DB76ED}"/>
    <dgm:cxn modelId="{338757FA-1F86-474E-A87F-8DE84E3EBEAD}" type="presOf" srcId="{69F5D901-573A-4BCB-AC89-286ADF22DE6B}" destId="{945E33E5-5437-4748-9F15-1ECCC6192F4A}" srcOrd="0" destOrd="0" presId="urn:microsoft.com/office/officeart/2005/8/layout/default"/>
    <dgm:cxn modelId="{8E8D96B7-794E-45CB-A28D-8CF6C2CBC5E6}" type="presParOf" srcId="{945E33E5-5437-4748-9F15-1ECCC6192F4A}" destId="{8FAC8F6D-ADDF-42C3-B4E6-599DD84EDF9C}" srcOrd="0" destOrd="0" presId="urn:microsoft.com/office/officeart/2005/8/layout/default"/>
    <dgm:cxn modelId="{03829DB0-744F-44F0-8CA9-ED293A32751E}" type="presParOf" srcId="{945E33E5-5437-4748-9F15-1ECCC6192F4A}" destId="{E8DD0055-07D9-4E2C-9DB9-E54318FE26F2}" srcOrd="1" destOrd="0" presId="urn:microsoft.com/office/officeart/2005/8/layout/default"/>
    <dgm:cxn modelId="{282E8BE9-FECF-42B2-BDFC-2C8E16EB4A51}" type="presParOf" srcId="{945E33E5-5437-4748-9F15-1ECCC6192F4A}" destId="{1A92F250-F5B6-4894-8EAB-E7D6DFF6E172}" srcOrd="2" destOrd="0" presId="urn:microsoft.com/office/officeart/2005/8/layout/default"/>
    <dgm:cxn modelId="{D2B4DDA7-65BA-4881-B882-227A5DE7556A}" type="presParOf" srcId="{945E33E5-5437-4748-9F15-1ECCC6192F4A}" destId="{C9FF1620-6790-47B4-993E-C9D3D96B1002}" srcOrd="3" destOrd="0" presId="urn:microsoft.com/office/officeart/2005/8/layout/default"/>
    <dgm:cxn modelId="{21A5751F-14DF-4F77-95FA-FB6AD57D5066}" type="presParOf" srcId="{945E33E5-5437-4748-9F15-1ECCC6192F4A}" destId="{B8FCF5A3-EF59-434A-BB6D-05DAA578F2D4}" srcOrd="4" destOrd="0" presId="urn:microsoft.com/office/officeart/2005/8/layout/default"/>
    <dgm:cxn modelId="{21B3975C-E6D4-4A09-B5C0-71168B990059}" type="presParOf" srcId="{945E33E5-5437-4748-9F15-1ECCC6192F4A}" destId="{954BDDC5-3393-452D-ABC3-E3E15FA82403}" srcOrd="5" destOrd="0" presId="urn:microsoft.com/office/officeart/2005/8/layout/default"/>
    <dgm:cxn modelId="{61B641ED-B233-4F4C-A8F5-DD2DDC9C2072}" type="presParOf" srcId="{945E33E5-5437-4748-9F15-1ECCC6192F4A}" destId="{4C07D75F-A06B-47F2-BED3-29553591CDC4}"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F5D901-573A-4BCB-AC89-286ADF22DE6B}" type="doc">
      <dgm:prSet loTypeId="urn:microsoft.com/office/officeart/2005/8/layout/default" loCatId="list" qsTypeId="urn:microsoft.com/office/officeart/2005/8/quickstyle/simple4" qsCatId="simple" csTypeId="urn:microsoft.com/office/officeart/2005/8/colors/accent2_2" csCatId="accent2" phldr="1"/>
      <dgm:spPr/>
      <dgm:t>
        <a:bodyPr/>
        <a:lstStyle/>
        <a:p>
          <a:endParaRPr lang="en-US"/>
        </a:p>
      </dgm:t>
    </dgm:pt>
    <dgm:pt modelId="{90025B10-BFCD-4FD6-B215-69E220ED15DB}">
      <dgm:prSet/>
      <dgm:spPr/>
      <dgm:t>
        <a:bodyPr/>
        <a:lstStyle/>
        <a:p>
          <a:r>
            <a:rPr lang="nl-NL"/>
            <a:t>De meerwaarde van het netwerk wordt door zorgverleners ervaren op zowel persoonlijk als organisatieniveau.</a:t>
          </a:r>
        </a:p>
      </dgm:t>
    </dgm:pt>
    <dgm:pt modelId="{122DCC1A-591F-4E9D-B701-3E23BEAADFF9}" type="parTrans" cxnId="{594A016E-44C9-4B06-9098-BF3576F498D5}">
      <dgm:prSet/>
      <dgm:spPr/>
      <dgm:t>
        <a:bodyPr/>
        <a:lstStyle/>
        <a:p>
          <a:endParaRPr lang="nl-NL"/>
        </a:p>
      </dgm:t>
    </dgm:pt>
    <dgm:pt modelId="{E172651B-28FE-4D4A-8731-08FE7184A508}" type="sibTrans" cxnId="{594A016E-44C9-4B06-9098-BF3576F498D5}">
      <dgm:prSet/>
      <dgm:spPr/>
      <dgm:t>
        <a:bodyPr/>
        <a:lstStyle/>
        <a:p>
          <a:endParaRPr lang="nl-NL"/>
        </a:p>
      </dgm:t>
    </dgm:pt>
    <dgm:pt modelId="{60EAA03A-81E5-4332-875A-7F08B4922DC9}">
      <dgm:prSet/>
      <dgm:spPr/>
      <dgm:t>
        <a:bodyPr/>
        <a:lstStyle/>
        <a:p>
          <a:r>
            <a:rPr lang="nl-NL"/>
            <a:t>Zowel bij zorgverleners (70%) als bij bestuurders (57%) komt naar voren dat niet altijd duidelijk is wie aan welk doel of thema werkt.</a:t>
          </a:r>
        </a:p>
      </dgm:t>
    </dgm:pt>
    <dgm:pt modelId="{7D07887E-3660-4091-9CCC-3E00442E1FA2}" type="parTrans" cxnId="{2C9BFD46-A441-4F14-9735-DFE1F251B6AC}">
      <dgm:prSet/>
      <dgm:spPr/>
      <dgm:t>
        <a:bodyPr/>
        <a:lstStyle/>
        <a:p>
          <a:endParaRPr lang="nl-NL"/>
        </a:p>
      </dgm:t>
    </dgm:pt>
    <dgm:pt modelId="{BBB29D16-A309-4F76-99F0-DCEB268416C6}" type="sibTrans" cxnId="{2C9BFD46-A441-4F14-9735-DFE1F251B6AC}">
      <dgm:prSet/>
      <dgm:spPr/>
      <dgm:t>
        <a:bodyPr/>
        <a:lstStyle/>
        <a:p>
          <a:endParaRPr lang="nl-NL"/>
        </a:p>
      </dgm:t>
    </dgm:pt>
    <dgm:pt modelId="{65C8D62B-EC34-4FA0-9918-9CD98315BDB2}">
      <dgm:prSet/>
      <dgm:spPr/>
      <dgm:t>
        <a:bodyPr/>
        <a:lstStyle/>
        <a:p>
          <a:r>
            <a:rPr lang="nl-NL"/>
            <a:t>Tevreden over de netwerkcoördinator. Duo is mooie aanvulling op elkaar.</a:t>
          </a:r>
        </a:p>
      </dgm:t>
    </dgm:pt>
    <dgm:pt modelId="{3D146D64-8FEF-40FF-B7AD-EB0C34D5F9B2}" type="parTrans" cxnId="{39F3D771-50FA-47A1-B5C3-F582374907A5}">
      <dgm:prSet/>
      <dgm:spPr/>
      <dgm:t>
        <a:bodyPr/>
        <a:lstStyle/>
        <a:p>
          <a:endParaRPr lang="nl-NL"/>
        </a:p>
      </dgm:t>
    </dgm:pt>
    <dgm:pt modelId="{36198921-2EAF-4AF3-9A3D-61C766273461}" type="sibTrans" cxnId="{39F3D771-50FA-47A1-B5C3-F582374907A5}">
      <dgm:prSet/>
      <dgm:spPr/>
      <dgm:t>
        <a:bodyPr/>
        <a:lstStyle/>
        <a:p>
          <a:endParaRPr lang="nl-NL"/>
        </a:p>
      </dgm:t>
    </dgm:pt>
    <dgm:pt modelId="{711FECCD-C60D-42BD-9E0F-050AC29CB8FB}">
      <dgm:prSet/>
      <dgm:spPr/>
      <dgm:t>
        <a:bodyPr/>
        <a:lstStyle/>
        <a:p>
          <a:pPr>
            <a:buNone/>
          </a:pPr>
          <a:r>
            <a:rPr lang="nl-NL"/>
            <a:t>Monitoren van de voortgang is niet altijd zichtbaar. </a:t>
          </a:r>
        </a:p>
      </dgm:t>
    </dgm:pt>
    <dgm:pt modelId="{0E60122B-F309-4680-9580-62C2391ECA4D}" type="parTrans" cxnId="{5DEF1719-718A-4DA4-B989-91F264276D7C}">
      <dgm:prSet/>
      <dgm:spPr/>
      <dgm:t>
        <a:bodyPr/>
        <a:lstStyle/>
        <a:p>
          <a:endParaRPr lang="nl-NL"/>
        </a:p>
      </dgm:t>
    </dgm:pt>
    <dgm:pt modelId="{9C61D8B0-BFC3-4D70-AB2E-BF567CD0FB18}" type="sibTrans" cxnId="{5DEF1719-718A-4DA4-B989-91F264276D7C}">
      <dgm:prSet/>
      <dgm:spPr/>
      <dgm:t>
        <a:bodyPr/>
        <a:lstStyle/>
        <a:p>
          <a:endParaRPr lang="nl-NL"/>
        </a:p>
      </dgm:t>
    </dgm:pt>
    <dgm:pt modelId="{BA3CD2D7-9FB4-49AB-A440-F0E0DCD25EFC}" type="pres">
      <dgm:prSet presAssocID="{69F5D901-573A-4BCB-AC89-286ADF22DE6B}" presName="diagram" presStyleCnt="0">
        <dgm:presLayoutVars>
          <dgm:dir/>
          <dgm:resizeHandles val="exact"/>
        </dgm:presLayoutVars>
      </dgm:prSet>
      <dgm:spPr/>
    </dgm:pt>
    <dgm:pt modelId="{C3836BA3-33DB-4FA1-9D9C-BF49EB242865}" type="pres">
      <dgm:prSet presAssocID="{90025B10-BFCD-4FD6-B215-69E220ED15DB}" presName="node" presStyleLbl="node1" presStyleIdx="0" presStyleCnt="4">
        <dgm:presLayoutVars>
          <dgm:bulletEnabled val="1"/>
        </dgm:presLayoutVars>
      </dgm:prSet>
      <dgm:spPr/>
    </dgm:pt>
    <dgm:pt modelId="{7DAED6F6-A0CE-4FB5-BAE4-14BF35D71300}" type="pres">
      <dgm:prSet presAssocID="{E172651B-28FE-4D4A-8731-08FE7184A508}" presName="sibTrans" presStyleCnt="0"/>
      <dgm:spPr/>
    </dgm:pt>
    <dgm:pt modelId="{7CBED09A-56DA-4408-A7B5-4C3D5509A2CB}" type="pres">
      <dgm:prSet presAssocID="{60EAA03A-81E5-4332-875A-7F08B4922DC9}" presName="node" presStyleLbl="node1" presStyleIdx="1" presStyleCnt="4">
        <dgm:presLayoutVars>
          <dgm:bulletEnabled val="1"/>
        </dgm:presLayoutVars>
      </dgm:prSet>
      <dgm:spPr/>
    </dgm:pt>
    <dgm:pt modelId="{274BA4C3-EA5C-46C9-BB9A-46F4FA9791C1}" type="pres">
      <dgm:prSet presAssocID="{BBB29D16-A309-4F76-99F0-DCEB268416C6}" presName="sibTrans" presStyleCnt="0"/>
      <dgm:spPr/>
    </dgm:pt>
    <dgm:pt modelId="{41F0199D-7DDB-4C83-B118-7D201C24C589}" type="pres">
      <dgm:prSet presAssocID="{65C8D62B-EC34-4FA0-9918-9CD98315BDB2}" presName="node" presStyleLbl="node1" presStyleIdx="2" presStyleCnt="4">
        <dgm:presLayoutVars>
          <dgm:bulletEnabled val="1"/>
        </dgm:presLayoutVars>
      </dgm:prSet>
      <dgm:spPr/>
    </dgm:pt>
    <dgm:pt modelId="{43D13465-D6F1-4366-9447-C7F4CE1C3E69}" type="pres">
      <dgm:prSet presAssocID="{36198921-2EAF-4AF3-9A3D-61C766273461}" presName="sibTrans" presStyleCnt="0"/>
      <dgm:spPr/>
    </dgm:pt>
    <dgm:pt modelId="{5C97AD40-299E-432C-922B-FCB12FEF1330}" type="pres">
      <dgm:prSet presAssocID="{711FECCD-C60D-42BD-9E0F-050AC29CB8FB}" presName="node" presStyleLbl="node1" presStyleIdx="3" presStyleCnt="4">
        <dgm:presLayoutVars>
          <dgm:bulletEnabled val="1"/>
        </dgm:presLayoutVars>
      </dgm:prSet>
      <dgm:spPr/>
    </dgm:pt>
  </dgm:ptLst>
  <dgm:cxnLst>
    <dgm:cxn modelId="{6907B704-97DC-48A6-8A81-E18DDB147F54}" type="presOf" srcId="{65C8D62B-EC34-4FA0-9918-9CD98315BDB2}" destId="{41F0199D-7DDB-4C83-B118-7D201C24C589}" srcOrd="0" destOrd="0" presId="urn:microsoft.com/office/officeart/2005/8/layout/default"/>
    <dgm:cxn modelId="{A1377B10-61F2-459C-BDB6-B5F95D99947A}" type="presOf" srcId="{60EAA03A-81E5-4332-875A-7F08B4922DC9}" destId="{7CBED09A-56DA-4408-A7B5-4C3D5509A2CB}" srcOrd="0" destOrd="0" presId="urn:microsoft.com/office/officeart/2005/8/layout/default"/>
    <dgm:cxn modelId="{5DEF1719-718A-4DA4-B989-91F264276D7C}" srcId="{69F5D901-573A-4BCB-AC89-286ADF22DE6B}" destId="{711FECCD-C60D-42BD-9E0F-050AC29CB8FB}" srcOrd="3" destOrd="0" parTransId="{0E60122B-F309-4680-9580-62C2391ECA4D}" sibTransId="{9C61D8B0-BFC3-4D70-AB2E-BF567CD0FB18}"/>
    <dgm:cxn modelId="{125B7D24-0E55-4E5A-A074-992CC986A963}" type="presOf" srcId="{711FECCD-C60D-42BD-9E0F-050AC29CB8FB}" destId="{5C97AD40-299E-432C-922B-FCB12FEF1330}" srcOrd="0" destOrd="0" presId="urn:microsoft.com/office/officeart/2005/8/layout/default"/>
    <dgm:cxn modelId="{2C9BFD46-A441-4F14-9735-DFE1F251B6AC}" srcId="{69F5D901-573A-4BCB-AC89-286ADF22DE6B}" destId="{60EAA03A-81E5-4332-875A-7F08B4922DC9}" srcOrd="1" destOrd="0" parTransId="{7D07887E-3660-4091-9CCC-3E00442E1FA2}" sibTransId="{BBB29D16-A309-4F76-99F0-DCEB268416C6}"/>
    <dgm:cxn modelId="{594A016E-44C9-4B06-9098-BF3576F498D5}" srcId="{69F5D901-573A-4BCB-AC89-286ADF22DE6B}" destId="{90025B10-BFCD-4FD6-B215-69E220ED15DB}" srcOrd="0" destOrd="0" parTransId="{122DCC1A-591F-4E9D-B701-3E23BEAADFF9}" sibTransId="{E172651B-28FE-4D4A-8731-08FE7184A508}"/>
    <dgm:cxn modelId="{39F3D771-50FA-47A1-B5C3-F582374907A5}" srcId="{69F5D901-573A-4BCB-AC89-286ADF22DE6B}" destId="{65C8D62B-EC34-4FA0-9918-9CD98315BDB2}" srcOrd="2" destOrd="0" parTransId="{3D146D64-8FEF-40FF-B7AD-EB0C34D5F9B2}" sibTransId="{36198921-2EAF-4AF3-9A3D-61C766273461}"/>
    <dgm:cxn modelId="{CB24F3CB-04CF-4497-89B0-A3B6089DB07A}" type="presOf" srcId="{69F5D901-573A-4BCB-AC89-286ADF22DE6B}" destId="{BA3CD2D7-9FB4-49AB-A440-F0E0DCD25EFC}" srcOrd="0" destOrd="0" presId="urn:microsoft.com/office/officeart/2005/8/layout/default"/>
    <dgm:cxn modelId="{C12D44E5-3481-4BDB-AEDC-1E2675CA6C71}" type="presOf" srcId="{90025B10-BFCD-4FD6-B215-69E220ED15DB}" destId="{C3836BA3-33DB-4FA1-9D9C-BF49EB242865}" srcOrd="0" destOrd="0" presId="urn:microsoft.com/office/officeart/2005/8/layout/default"/>
    <dgm:cxn modelId="{5901A292-E09B-4D2E-8E95-65C322FEDF56}" type="presParOf" srcId="{BA3CD2D7-9FB4-49AB-A440-F0E0DCD25EFC}" destId="{C3836BA3-33DB-4FA1-9D9C-BF49EB242865}" srcOrd="0" destOrd="0" presId="urn:microsoft.com/office/officeart/2005/8/layout/default"/>
    <dgm:cxn modelId="{2050C316-099F-4948-8774-EF5DBB39919D}" type="presParOf" srcId="{BA3CD2D7-9FB4-49AB-A440-F0E0DCD25EFC}" destId="{7DAED6F6-A0CE-4FB5-BAE4-14BF35D71300}" srcOrd="1" destOrd="0" presId="urn:microsoft.com/office/officeart/2005/8/layout/default"/>
    <dgm:cxn modelId="{0EB79C1D-969A-44AE-AF17-57AF012467FF}" type="presParOf" srcId="{BA3CD2D7-9FB4-49AB-A440-F0E0DCD25EFC}" destId="{7CBED09A-56DA-4408-A7B5-4C3D5509A2CB}" srcOrd="2" destOrd="0" presId="urn:microsoft.com/office/officeart/2005/8/layout/default"/>
    <dgm:cxn modelId="{062CC390-2CD5-4B3C-92A5-92DC8D267A49}" type="presParOf" srcId="{BA3CD2D7-9FB4-49AB-A440-F0E0DCD25EFC}" destId="{274BA4C3-EA5C-46C9-BB9A-46F4FA9791C1}" srcOrd="3" destOrd="0" presId="urn:microsoft.com/office/officeart/2005/8/layout/default"/>
    <dgm:cxn modelId="{0D3112A5-20AE-4A38-A10B-62A8EEE8C2D9}" type="presParOf" srcId="{BA3CD2D7-9FB4-49AB-A440-F0E0DCD25EFC}" destId="{41F0199D-7DDB-4C83-B118-7D201C24C589}" srcOrd="4" destOrd="0" presId="urn:microsoft.com/office/officeart/2005/8/layout/default"/>
    <dgm:cxn modelId="{9466C90A-F766-46CB-B304-E65D8E48B3D7}" type="presParOf" srcId="{BA3CD2D7-9FB4-49AB-A440-F0E0DCD25EFC}" destId="{43D13465-D6F1-4366-9447-C7F4CE1C3E69}" srcOrd="5" destOrd="0" presId="urn:microsoft.com/office/officeart/2005/8/layout/default"/>
    <dgm:cxn modelId="{783D81F8-E1F8-45E1-8C87-1DF4CE79C184}" type="presParOf" srcId="{BA3CD2D7-9FB4-49AB-A440-F0E0DCD25EFC}" destId="{5C97AD40-299E-432C-922B-FCB12FEF1330}"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074FCFC-28FE-4D7B-9804-338459832041}"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D80CC61A-DA6C-43C4-874B-99D071B7CE86}">
      <dgm:prSet/>
      <dgm:spPr/>
      <dgm:t>
        <a:bodyPr/>
        <a:lstStyle/>
        <a:p>
          <a:r>
            <a:rPr lang="nl-NL"/>
            <a:t>Er zijn twijfels bij de 3 doelgroepen over het nakomen van afspraken van het convenant door de deelnemende organisaties. </a:t>
          </a:r>
          <a:endParaRPr lang="en-US"/>
        </a:p>
      </dgm:t>
    </dgm:pt>
    <dgm:pt modelId="{E7938CCA-1F2D-4B16-AE3E-D98FBA7662DA}" type="parTrans" cxnId="{083EF00C-18D7-4C43-816E-0D486D3BE043}">
      <dgm:prSet/>
      <dgm:spPr/>
      <dgm:t>
        <a:bodyPr/>
        <a:lstStyle/>
        <a:p>
          <a:endParaRPr lang="en-US"/>
        </a:p>
      </dgm:t>
    </dgm:pt>
    <dgm:pt modelId="{533ACA3D-D91F-490D-91D9-930BBA1AD743}" type="sibTrans" cxnId="{083EF00C-18D7-4C43-816E-0D486D3BE043}">
      <dgm:prSet/>
      <dgm:spPr/>
      <dgm:t>
        <a:bodyPr/>
        <a:lstStyle/>
        <a:p>
          <a:endParaRPr lang="en-US"/>
        </a:p>
      </dgm:t>
    </dgm:pt>
    <dgm:pt modelId="{645294F9-0B7A-4FA9-A683-6ED495A9B9F2}">
      <dgm:prSet/>
      <dgm:spPr/>
      <dgm:t>
        <a:bodyPr/>
        <a:lstStyle/>
        <a:p>
          <a:r>
            <a:rPr lang="en-US"/>
            <a:t>De </a:t>
          </a:r>
          <a:r>
            <a:rPr lang="en-US" err="1"/>
            <a:t>meerderheid</a:t>
          </a:r>
          <a:r>
            <a:rPr lang="en-US"/>
            <a:t> </a:t>
          </a:r>
          <a:r>
            <a:rPr lang="en-US" err="1"/>
            <a:t>vindt</a:t>
          </a:r>
          <a:r>
            <a:rPr lang="en-US"/>
            <a:t> </a:t>
          </a:r>
          <a:r>
            <a:rPr lang="en-US" err="1"/>
            <a:t>dat</a:t>
          </a:r>
          <a:r>
            <a:rPr lang="en-US"/>
            <a:t> de </a:t>
          </a:r>
          <a:r>
            <a:rPr lang="en-US" err="1"/>
            <a:t>wijze</a:t>
          </a:r>
          <a:r>
            <a:rPr lang="en-US"/>
            <a:t> van </a:t>
          </a:r>
          <a:r>
            <a:rPr lang="en-US" err="1"/>
            <a:t>organiseren</a:t>
          </a:r>
          <a:r>
            <a:rPr lang="en-US"/>
            <a:t> de </a:t>
          </a:r>
          <a:r>
            <a:rPr lang="en-US" err="1"/>
            <a:t>doelrealisatie</a:t>
          </a:r>
          <a:r>
            <a:rPr lang="en-US"/>
            <a:t> in de </a:t>
          </a:r>
          <a:r>
            <a:rPr lang="en-US" err="1"/>
            <a:t>weg</a:t>
          </a:r>
          <a:r>
            <a:rPr lang="en-US"/>
            <a:t> </a:t>
          </a:r>
          <a:r>
            <a:rPr lang="en-US" err="1"/>
            <a:t>staat</a:t>
          </a:r>
          <a:r>
            <a:rPr lang="en-US"/>
            <a:t>.</a:t>
          </a:r>
        </a:p>
      </dgm:t>
    </dgm:pt>
    <dgm:pt modelId="{4CCA515D-ACF4-48EF-9BDE-5B0878B48D9F}" type="parTrans" cxnId="{CB572A1D-AB92-4FF4-A0C5-E4C3B138785D}">
      <dgm:prSet/>
      <dgm:spPr/>
      <dgm:t>
        <a:bodyPr/>
        <a:lstStyle/>
        <a:p>
          <a:endParaRPr lang="en-US"/>
        </a:p>
      </dgm:t>
    </dgm:pt>
    <dgm:pt modelId="{3440E9B7-B8A2-4A10-8351-F1BC80FFA5E7}" type="sibTrans" cxnId="{CB572A1D-AB92-4FF4-A0C5-E4C3B138785D}">
      <dgm:prSet/>
      <dgm:spPr/>
      <dgm:t>
        <a:bodyPr/>
        <a:lstStyle/>
        <a:p>
          <a:endParaRPr lang="en-US"/>
        </a:p>
      </dgm:t>
    </dgm:pt>
    <dgm:pt modelId="{A60EEE1C-2BFE-4126-A3D9-2BF64D90D35F}">
      <dgm:prSet/>
      <dgm:spPr/>
      <dgm:t>
        <a:bodyPr/>
        <a:lstStyle/>
        <a:p>
          <a:r>
            <a:rPr lang="nl-NL"/>
            <a:t>De overleggen van het netwerk worden goed gewaardeerd.</a:t>
          </a:r>
          <a:endParaRPr lang="en-US"/>
        </a:p>
      </dgm:t>
    </dgm:pt>
    <dgm:pt modelId="{77977992-DD80-4FE2-A405-BF14CEFEE672}" type="parTrans" cxnId="{9A65DA35-0456-464C-8CFE-1C78BDC8931F}">
      <dgm:prSet/>
      <dgm:spPr/>
      <dgm:t>
        <a:bodyPr/>
        <a:lstStyle/>
        <a:p>
          <a:endParaRPr lang="en-US"/>
        </a:p>
      </dgm:t>
    </dgm:pt>
    <dgm:pt modelId="{E48CC77C-D491-442A-B535-C100608D2263}" type="sibTrans" cxnId="{9A65DA35-0456-464C-8CFE-1C78BDC8931F}">
      <dgm:prSet/>
      <dgm:spPr/>
      <dgm:t>
        <a:bodyPr/>
        <a:lstStyle/>
        <a:p>
          <a:endParaRPr lang="en-US"/>
        </a:p>
      </dgm:t>
    </dgm:pt>
    <dgm:pt modelId="{7F4A97BB-A43B-4635-A012-0BBE2D2340ED}" type="pres">
      <dgm:prSet presAssocID="{6074FCFC-28FE-4D7B-9804-338459832041}" presName="diagram" presStyleCnt="0">
        <dgm:presLayoutVars>
          <dgm:dir/>
          <dgm:resizeHandles val="exact"/>
        </dgm:presLayoutVars>
      </dgm:prSet>
      <dgm:spPr/>
    </dgm:pt>
    <dgm:pt modelId="{08427D8C-4559-4A06-9E01-AA9864A006C9}" type="pres">
      <dgm:prSet presAssocID="{D80CC61A-DA6C-43C4-874B-99D071B7CE86}" presName="node" presStyleLbl="node1" presStyleIdx="0" presStyleCnt="3" custScaleX="95940" custLinFactNeighborX="-20246" custLinFactNeighborY="2603">
        <dgm:presLayoutVars>
          <dgm:bulletEnabled val="1"/>
        </dgm:presLayoutVars>
      </dgm:prSet>
      <dgm:spPr/>
    </dgm:pt>
    <dgm:pt modelId="{E8532751-34EC-4478-8C5E-22F3D9A6D620}" type="pres">
      <dgm:prSet presAssocID="{533ACA3D-D91F-490D-91D9-930BBA1AD743}" presName="sibTrans" presStyleCnt="0"/>
      <dgm:spPr/>
    </dgm:pt>
    <dgm:pt modelId="{327A1ED2-AF84-409C-995B-F419E010A736}" type="pres">
      <dgm:prSet presAssocID="{645294F9-0B7A-4FA9-A683-6ED495A9B9F2}" presName="node" presStyleLbl="node1" presStyleIdx="1" presStyleCnt="3" custLinFactNeighborX="10898" custLinFactNeighborY="2603">
        <dgm:presLayoutVars>
          <dgm:bulletEnabled val="1"/>
        </dgm:presLayoutVars>
      </dgm:prSet>
      <dgm:spPr/>
    </dgm:pt>
    <dgm:pt modelId="{DE4BD7A5-295A-459D-8435-E23FFA136F0A}" type="pres">
      <dgm:prSet presAssocID="{3440E9B7-B8A2-4A10-8351-F1BC80FFA5E7}" presName="sibTrans" presStyleCnt="0"/>
      <dgm:spPr/>
    </dgm:pt>
    <dgm:pt modelId="{F0B1C9CC-35D7-42E4-A554-F18E9A75B807}" type="pres">
      <dgm:prSet presAssocID="{A60EEE1C-2BFE-4126-A3D9-2BF64D90D35F}" presName="node" presStyleLbl="node1" presStyleIdx="2" presStyleCnt="3" custLinFactNeighborX="-6822" custLinFactNeighborY="-4072">
        <dgm:presLayoutVars>
          <dgm:bulletEnabled val="1"/>
        </dgm:presLayoutVars>
      </dgm:prSet>
      <dgm:spPr/>
    </dgm:pt>
  </dgm:ptLst>
  <dgm:cxnLst>
    <dgm:cxn modelId="{083EF00C-18D7-4C43-816E-0D486D3BE043}" srcId="{6074FCFC-28FE-4D7B-9804-338459832041}" destId="{D80CC61A-DA6C-43C4-874B-99D071B7CE86}" srcOrd="0" destOrd="0" parTransId="{E7938CCA-1F2D-4B16-AE3E-D98FBA7662DA}" sibTransId="{533ACA3D-D91F-490D-91D9-930BBA1AD743}"/>
    <dgm:cxn modelId="{CB572A1D-AB92-4FF4-A0C5-E4C3B138785D}" srcId="{6074FCFC-28FE-4D7B-9804-338459832041}" destId="{645294F9-0B7A-4FA9-A683-6ED495A9B9F2}" srcOrd="1" destOrd="0" parTransId="{4CCA515D-ACF4-48EF-9BDE-5B0878B48D9F}" sibTransId="{3440E9B7-B8A2-4A10-8351-F1BC80FFA5E7}"/>
    <dgm:cxn modelId="{9A65DA35-0456-464C-8CFE-1C78BDC8931F}" srcId="{6074FCFC-28FE-4D7B-9804-338459832041}" destId="{A60EEE1C-2BFE-4126-A3D9-2BF64D90D35F}" srcOrd="2" destOrd="0" parTransId="{77977992-DD80-4FE2-A405-BF14CEFEE672}" sibTransId="{E48CC77C-D491-442A-B535-C100608D2263}"/>
    <dgm:cxn modelId="{392BF065-B25C-4346-BADA-5796426F2EAC}" type="presOf" srcId="{6074FCFC-28FE-4D7B-9804-338459832041}" destId="{7F4A97BB-A43B-4635-A012-0BBE2D2340ED}" srcOrd="0" destOrd="0" presId="urn:microsoft.com/office/officeart/2005/8/layout/default"/>
    <dgm:cxn modelId="{5051C26C-CEF8-4C13-93A8-AB68228397EF}" type="presOf" srcId="{A60EEE1C-2BFE-4126-A3D9-2BF64D90D35F}" destId="{F0B1C9CC-35D7-42E4-A554-F18E9A75B807}" srcOrd="0" destOrd="0" presId="urn:microsoft.com/office/officeart/2005/8/layout/default"/>
    <dgm:cxn modelId="{00E33D7B-2AD7-4F7F-A718-2551CE86B914}" type="presOf" srcId="{D80CC61A-DA6C-43C4-874B-99D071B7CE86}" destId="{08427D8C-4559-4A06-9E01-AA9864A006C9}" srcOrd="0" destOrd="0" presId="urn:microsoft.com/office/officeart/2005/8/layout/default"/>
    <dgm:cxn modelId="{3D6626C7-AE7B-4D35-9231-4B6805435083}" type="presOf" srcId="{645294F9-0B7A-4FA9-A683-6ED495A9B9F2}" destId="{327A1ED2-AF84-409C-995B-F419E010A736}" srcOrd="0" destOrd="0" presId="urn:microsoft.com/office/officeart/2005/8/layout/default"/>
    <dgm:cxn modelId="{AC16FF67-8711-42A8-B25E-722683205319}" type="presParOf" srcId="{7F4A97BB-A43B-4635-A012-0BBE2D2340ED}" destId="{08427D8C-4559-4A06-9E01-AA9864A006C9}" srcOrd="0" destOrd="0" presId="urn:microsoft.com/office/officeart/2005/8/layout/default"/>
    <dgm:cxn modelId="{B7C2A123-0299-4E24-B974-C3987E3E7D87}" type="presParOf" srcId="{7F4A97BB-A43B-4635-A012-0BBE2D2340ED}" destId="{E8532751-34EC-4478-8C5E-22F3D9A6D620}" srcOrd="1" destOrd="0" presId="urn:microsoft.com/office/officeart/2005/8/layout/default"/>
    <dgm:cxn modelId="{69AFDF66-D855-4149-9CF6-AEFE2C605BBB}" type="presParOf" srcId="{7F4A97BB-A43B-4635-A012-0BBE2D2340ED}" destId="{327A1ED2-AF84-409C-995B-F419E010A736}" srcOrd="2" destOrd="0" presId="urn:microsoft.com/office/officeart/2005/8/layout/default"/>
    <dgm:cxn modelId="{8716B851-3B33-489C-88BA-D97B2ACCCC88}" type="presParOf" srcId="{7F4A97BB-A43B-4635-A012-0BBE2D2340ED}" destId="{DE4BD7A5-295A-459D-8435-E23FFA136F0A}" srcOrd="3" destOrd="0" presId="urn:microsoft.com/office/officeart/2005/8/layout/default"/>
    <dgm:cxn modelId="{C64A33BA-EFBC-49F9-B414-62F9065237AC}" type="presParOf" srcId="{7F4A97BB-A43B-4635-A012-0BBE2D2340ED}" destId="{F0B1C9CC-35D7-42E4-A554-F18E9A75B807}"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28A7721-F748-4595-930A-2659137189D7}" type="doc">
      <dgm:prSet loTypeId="urn:microsoft.com/office/officeart/2005/8/layout/default" loCatId="list" qsTypeId="urn:microsoft.com/office/officeart/2005/8/quickstyle/simple2" qsCatId="simple" csTypeId="urn:microsoft.com/office/officeart/2005/8/colors/accent2_2" csCatId="accent2" phldr="1"/>
      <dgm:spPr/>
      <dgm:t>
        <a:bodyPr/>
        <a:lstStyle/>
        <a:p>
          <a:endParaRPr lang="en-US"/>
        </a:p>
      </dgm:t>
    </dgm:pt>
    <dgm:pt modelId="{53E4A96B-9984-4A90-84FC-D7375D6B92E3}">
      <dgm:prSet/>
      <dgm:spPr/>
      <dgm:t>
        <a:bodyPr/>
        <a:lstStyle/>
        <a:p>
          <a:r>
            <a:rPr lang="nl-NL" b="0" i="0"/>
            <a:t>Regionale leidraad </a:t>
          </a:r>
          <a:r>
            <a:rPr lang="nl-NL" b="0" i="0" err="1"/>
            <a:t>pzp</a:t>
          </a:r>
          <a:r>
            <a:rPr lang="nl-NL" b="0" i="0"/>
            <a:t> speelt een grote rol. Afspraken zijn goed geïmplementeerd. Bestuurders geven aan deze leidraad ook opgenomen te hebben in het beleid van de eigen organisatie.</a:t>
          </a:r>
          <a:endParaRPr lang="en-US" b="0"/>
        </a:p>
      </dgm:t>
    </dgm:pt>
    <dgm:pt modelId="{899F9C4E-ED4E-4986-8541-567DE06F6CA3}" type="parTrans" cxnId="{E2659A19-9C31-44A7-81A0-533C162D354B}">
      <dgm:prSet/>
      <dgm:spPr/>
      <dgm:t>
        <a:bodyPr/>
        <a:lstStyle/>
        <a:p>
          <a:endParaRPr lang="en-US"/>
        </a:p>
      </dgm:t>
    </dgm:pt>
    <dgm:pt modelId="{F2AB49C1-84D5-47D5-8E19-94D612577D1C}" type="sibTrans" cxnId="{E2659A19-9C31-44A7-81A0-533C162D354B}">
      <dgm:prSet/>
      <dgm:spPr/>
      <dgm:t>
        <a:bodyPr/>
        <a:lstStyle/>
        <a:p>
          <a:endParaRPr lang="en-US"/>
        </a:p>
      </dgm:t>
    </dgm:pt>
    <dgm:pt modelId="{3117C298-1FAE-4298-9989-6FD6860BF6C1}">
      <dgm:prSet/>
      <dgm:spPr/>
      <dgm:t>
        <a:bodyPr/>
        <a:lstStyle/>
        <a:p>
          <a:r>
            <a:rPr lang="nl-NL" b="0"/>
            <a:t>Maatschappelijke bewustwording en deskundigheidsbevordering goed op orde.</a:t>
          </a:r>
          <a:endParaRPr lang="en-US" b="0"/>
        </a:p>
      </dgm:t>
    </dgm:pt>
    <dgm:pt modelId="{04B077E1-6C05-4B45-99EA-8044C39DB18C}" type="parTrans" cxnId="{43E053C5-F68F-4568-96E0-AC287B797329}">
      <dgm:prSet/>
      <dgm:spPr/>
      <dgm:t>
        <a:bodyPr/>
        <a:lstStyle/>
        <a:p>
          <a:endParaRPr lang="en-US"/>
        </a:p>
      </dgm:t>
    </dgm:pt>
    <dgm:pt modelId="{946C8424-9785-4B7B-A67F-E7A865710EC5}" type="sibTrans" cxnId="{43E053C5-F68F-4568-96E0-AC287B797329}">
      <dgm:prSet/>
      <dgm:spPr/>
      <dgm:t>
        <a:bodyPr/>
        <a:lstStyle/>
        <a:p>
          <a:endParaRPr lang="en-US"/>
        </a:p>
      </dgm:t>
    </dgm:pt>
    <dgm:pt modelId="{08BDC86C-80FE-482C-9F42-C05732DB7303}">
      <dgm:prSet/>
      <dgm:spPr/>
      <dgm:t>
        <a:bodyPr/>
        <a:lstStyle/>
        <a:p>
          <a:r>
            <a:rPr lang="nl-NL" b="0" i="0"/>
            <a:t>Afspraken over coördinatie en continuïteit zijn volgens 43% van de bestuurders nog niet goed vormgegeven.</a:t>
          </a:r>
          <a:endParaRPr lang="en-US" b="0"/>
        </a:p>
      </dgm:t>
    </dgm:pt>
    <dgm:pt modelId="{A86E35D2-8E59-47C2-B74C-8B2C3E0D71A6}" type="parTrans" cxnId="{853152B1-A046-4AA7-B1FC-D2EFC251FFC5}">
      <dgm:prSet/>
      <dgm:spPr/>
      <dgm:t>
        <a:bodyPr/>
        <a:lstStyle/>
        <a:p>
          <a:endParaRPr lang="en-US"/>
        </a:p>
      </dgm:t>
    </dgm:pt>
    <dgm:pt modelId="{E04BCF9A-CDBB-4417-880E-194AD8FC181A}" type="sibTrans" cxnId="{853152B1-A046-4AA7-B1FC-D2EFC251FFC5}">
      <dgm:prSet/>
      <dgm:spPr/>
      <dgm:t>
        <a:bodyPr/>
        <a:lstStyle/>
        <a:p>
          <a:endParaRPr lang="en-US"/>
        </a:p>
      </dgm:t>
    </dgm:pt>
    <dgm:pt modelId="{6CA4A719-B705-443F-B20A-05F55851D07F}">
      <dgm:prSet/>
      <dgm:spPr/>
      <dgm:t>
        <a:bodyPr/>
        <a:lstStyle/>
        <a:p>
          <a:r>
            <a:rPr lang="nl-NL"/>
            <a:t>Delen van gegevens tussen organisaties is nog in ontwikkeling.</a:t>
          </a:r>
        </a:p>
      </dgm:t>
    </dgm:pt>
    <dgm:pt modelId="{F01427F6-0F36-41A3-B789-C9ABCCEF1601}" type="parTrans" cxnId="{9AEFE340-81AD-40A7-B77E-542E997B2D25}">
      <dgm:prSet/>
      <dgm:spPr/>
      <dgm:t>
        <a:bodyPr/>
        <a:lstStyle/>
        <a:p>
          <a:endParaRPr lang="nl-NL"/>
        </a:p>
      </dgm:t>
    </dgm:pt>
    <dgm:pt modelId="{DFF3A02A-D0C8-4C93-9810-75588145C1AF}" type="sibTrans" cxnId="{9AEFE340-81AD-40A7-B77E-542E997B2D25}">
      <dgm:prSet/>
      <dgm:spPr/>
      <dgm:t>
        <a:bodyPr/>
        <a:lstStyle/>
        <a:p>
          <a:endParaRPr lang="nl-NL"/>
        </a:p>
      </dgm:t>
    </dgm:pt>
    <dgm:pt modelId="{43DE9413-4B3E-4E48-88DB-CD21566CDC41}" type="pres">
      <dgm:prSet presAssocID="{B28A7721-F748-4595-930A-2659137189D7}" presName="diagram" presStyleCnt="0">
        <dgm:presLayoutVars>
          <dgm:dir/>
          <dgm:resizeHandles val="exact"/>
        </dgm:presLayoutVars>
      </dgm:prSet>
      <dgm:spPr/>
    </dgm:pt>
    <dgm:pt modelId="{E9426DF5-71BB-4214-A4B9-B29B472CFAA4}" type="pres">
      <dgm:prSet presAssocID="{53E4A96B-9984-4A90-84FC-D7375D6B92E3}" presName="node" presStyleLbl="node1" presStyleIdx="0" presStyleCnt="4">
        <dgm:presLayoutVars>
          <dgm:bulletEnabled val="1"/>
        </dgm:presLayoutVars>
      </dgm:prSet>
      <dgm:spPr/>
    </dgm:pt>
    <dgm:pt modelId="{DCFDF8F2-417E-4AD5-8B5A-69CFC91DCCBA}" type="pres">
      <dgm:prSet presAssocID="{F2AB49C1-84D5-47D5-8E19-94D612577D1C}" presName="sibTrans" presStyleCnt="0"/>
      <dgm:spPr/>
    </dgm:pt>
    <dgm:pt modelId="{AFD7CE4D-32A1-4C14-AA58-AFDE9DFBEF10}" type="pres">
      <dgm:prSet presAssocID="{3117C298-1FAE-4298-9989-6FD6860BF6C1}" presName="node" presStyleLbl="node1" presStyleIdx="1" presStyleCnt="4">
        <dgm:presLayoutVars>
          <dgm:bulletEnabled val="1"/>
        </dgm:presLayoutVars>
      </dgm:prSet>
      <dgm:spPr/>
    </dgm:pt>
    <dgm:pt modelId="{49130463-0DA6-4A5C-B278-B71CCB306C2A}" type="pres">
      <dgm:prSet presAssocID="{946C8424-9785-4B7B-A67F-E7A865710EC5}" presName="sibTrans" presStyleCnt="0"/>
      <dgm:spPr/>
    </dgm:pt>
    <dgm:pt modelId="{E08879A6-0B05-463A-9A67-6DFF2CC83159}" type="pres">
      <dgm:prSet presAssocID="{6CA4A719-B705-443F-B20A-05F55851D07F}" presName="node" presStyleLbl="node1" presStyleIdx="2" presStyleCnt="4" custLinFactX="10171" custLinFactNeighborX="100000" custLinFactNeighborY="-6172">
        <dgm:presLayoutVars>
          <dgm:bulletEnabled val="1"/>
        </dgm:presLayoutVars>
      </dgm:prSet>
      <dgm:spPr/>
    </dgm:pt>
    <dgm:pt modelId="{070BE947-4BF2-4445-B815-16E27814BC12}" type="pres">
      <dgm:prSet presAssocID="{DFF3A02A-D0C8-4C93-9810-75588145C1AF}" presName="sibTrans" presStyleCnt="0"/>
      <dgm:spPr/>
    </dgm:pt>
    <dgm:pt modelId="{907E8BE0-C489-4B33-ADBE-8DDBEDC29B8A}" type="pres">
      <dgm:prSet presAssocID="{08BDC86C-80FE-482C-9F42-C05732DB7303}" presName="node" presStyleLbl="node1" presStyleIdx="3" presStyleCnt="4" custLinFactX="-9779" custLinFactNeighborX="-100000" custLinFactNeighborY="-5546">
        <dgm:presLayoutVars>
          <dgm:bulletEnabled val="1"/>
        </dgm:presLayoutVars>
      </dgm:prSet>
      <dgm:spPr/>
    </dgm:pt>
  </dgm:ptLst>
  <dgm:cxnLst>
    <dgm:cxn modelId="{E2659A19-9C31-44A7-81A0-533C162D354B}" srcId="{B28A7721-F748-4595-930A-2659137189D7}" destId="{53E4A96B-9984-4A90-84FC-D7375D6B92E3}" srcOrd="0" destOrd="0" parTransId="{899F9C4E-ED4E-4986-8541-567DE06F6CA3}" sibTransId="{F2AB49C1-84D5-47D5-8E19-94D612577D1C}"/>
    <dgm:cxn modelId="{75E19C24-EE7D-4162-B4FC-E0D64F597928}" type="presOf" srcId="{53E4A96B-9984-4A90-84FC-D7375D6B92E3}" destId="{E9426DF5-71BB-4214-A4B9-B29B472CFAA4}" srcOrd="0" destOrd="0" presId="urn:microsoft.com/office/officeart/2005/8/layout/default"/>
    <dgm:cxn modelId="{9AEFE340-81AD-40A7-B77E-542E997B2D25}" srcId="{B28A7721-F748-4595-930A-2659137189D7}" destId="{6CA4A719-B705-443F-B20A-05F55851D07F}" srcOrd="2" destOrd="0" parTransId="{F01427F6-0F36-41A3-B789-C9ABCCEF1601}" sibTransId="{DFF3A02A-D0C8-4C93-9810-75588145C1AF}"/>
    <dgm:cxn modelId="{9099FC43-9062-46F4-BE31-901A66BE97AF}" type="presOf" srcId="{B28A7721-F748-4595-930A-2659137189D7}" destId="{43DE9413-4B3E-4E48-88DB-CD21566CDC41}" srcOrd="0" destOrd="0" presId="urn:microsoft.com/office/officeart/2005/8/layout/default"/>
    <dgm:cxn modelId="{A1CE1D98-ED33-41D9-BC71-DE5CB34C91A4}" type="presOf" srcId="{6CA4A719-B705-443F-B20A-05F55851D07F}" destId="{E08879A6-0B05-463A-9A67-6DFF2CC83159}" srcOrd="0" destOrd="0" presId="urn:microsoft.com/office/officeart/2005/8/layout/default"/>
    <dgm:cxn modelId="{28F712AD-9493-45D1-955D-CFC94E6D727A}" type="presOf" srcId="{08BDC86C-80FE-482C-9F42-C05732DB7303}" destId="{907E8BE0-C489-4B33-ADBE-8DDBEDC29B8A}" srcOrd="0" destOrd="0" presId="urn:microsoft.com/office/officeart/2005/8/layout/default"/>
    <dgm:cxn modelId="{853152B1-A046-4AA7-B1FC-D2EFC251FFC5}" srcId="{B28A7721-F748-4595-930A-2659137189D7}" destId="{08BDC86C-80FE-482C-9F42-C05732DB7303}" srcOrd="3" destOrd="0" parTransId="{A86E35D2-8E59-47C2-B74C-8B2C3E0D71A6}" sibTransId="{E04BCF9A-CDBB-4417-880E-194AD8FC181A}"/>
    <dgm:cxn modelId="{43E053C5-F68F-4568-96E0-AC287B797329}" srcId="{B28A7721-F748-4595-930A-2659137189D7}" destId="{3117C298-1FAE-4298-9989-6FD6860BF6C1}" srcOrd="1" destOrd="0" parTransId="{04B077E1-6C05-4B45-99EA-8044C39DB18C}" sibTransId="{946C8424-9785-4B7B-A67F-E7A865710EC5}"/>
    <dgm:cxn modelId="{441025DC-97B7-4426-85B2-E7BAAF822D5A}" type="presOf" srcId="{3117C298-1FAE-4298-9989-6FD6860BF6C1}" destId="{AFD7CE4D-32A1-4C14-AA58-AFDE9DFBEF10}" srcOrd="0" destOrd="0" presId="urn:microsoft.com/office/officeart/2005/8/layout/default"/>
    <dgm:cxn modelId="{8DBF4D5A-4E8E-4AF2-8B87-EE256CEED6DF}" type="presParOf" srcId="{43DE9413-4B3E-4E48-88DB-CD21566CDC41}" destId="{E9426DF5-71BB-4214-A4B9-B29B472CFAA4}" srcOrd="0" destOrd="0" presId="urn:microsoft.com/office/officeart/2005/8/layout/default"/>
    <dgm:cxn modelId="{9B0B61AE-0957-4D69-8CC7-A49BF77539D9}" type="presParOf" srcId="{43DE9413-4B3E-4E48-88DB-CD21566CDC41}" destId="{DCFDF8F2-417E-4AD5-8B5A-69CFC91DCCBA}" srcOrd="1" destOrd="0" presId="urn:microsoft.com/office/officeart/2005/8/layout/default"/>
    <dgm:cxn modelId="{7A5EAAEC-6417-4291-8468-C41835F329F5}" type="presParOf" srcId="{43DE9413-4B3E-4E48-88DB-CD21566CDC41}" destId="{AFD7CE4D-32A1-4C14-AA58-AFDE9DFBEF10}" srcOrd="2" destOrd="0" presId="urn:microsoft.com/office/officeart/2005/8/layout/default"/>
    <dgm:cxn modelId="{00DBA7F6-3EA7-47A3-B5E2-D748823C8149}" type="presParOf" srcId="{43DE9413-4B3E-4E48-88DB-CD21566CDC41}" destId="{49130463-0DA6-4A5C-B278-B71CCB306C2A}" srcOrd="3" destOrd="0" presId="urn:microsoft.com/office/officeart/2005/8/layout/default"/>
    <dgm:cxn modelId="{05587F9F-F190-4148-848B-20FA8AA12DB8}" type="presParOf" srcId="{43DE9413-4B3E-4E48-88DB-CD21566CDC41}" destId="{E08879A6-0B05-463A-9A67-6DFF2CC83159}" srcOrd="4" destOrd="0" presId="urn:microsoft.com/office/officeart/2005/8/layout/default"/>
    <dgm:cxn modelId="{2A253285-58A4-4C3C-9FB2-A6D09A06AF94}" type="presParOf" srcId="{43DE9413-4B3E-4E48-88DB-CD21566CDC41}" destId="{070BE947-4BF2-4445-B815-16E27814BC12}" srcOrd="5" destOrd="0" presId="urn:microsoft.com/office/officeart/2005/8/layout/default"/>
    <dgm:cxn modelId="{0527CC09-31F9-4DB4-940C-D47B71FA2CEF}" type="presParOf" srcId="{43DE9413-4B3E-4E48-88DB-CD21566CDC41}" destId="{907E8BE0-C489-4B33-ADBE-8DDBEDC29B8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9E21526-C0D7-41A8-A0D6-048D006F8FA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05CAE34-FD5C-4250-B89E-1B544C53E401}">
      <dgm:prSet/>
      <dgm:spPr/>
      <dgm:t>
        <a:bodyPr/>
        <a:lstStyle/>
        <a:p>
          <a:pPr>
            <a:buNone/>
          </a:pPr>
          <a:r>
            <a:rPr lang="nl-NL"/>
            <a:t>Rondom de ambitie van het netwerk staat al veel, maar kan het concreter en zichtbaarder.  </a:t>
          </a:r>
          <a:endParaRPr lang="en-US"/>
        </a:p>
      </dgm:t>
    </dgm:pt>
    <dgm:pt modelId="{568B7305-CA3A-4187-ABEC-EC0CABFB6F2D}" type="parTrans" cxnId="{2112D816-86D8-4B86-8D84-9FFFF22D99B5}">
      <dgm:prSet/>
      <dgm:spPr/>
      <dgm:t>
        <a:bodyPr/>
        <a:lstStyle/>
        <a:p>
          <a:endParaRPr lang="en-US"/>
        </a:p>
      </dgm:t>
    </dgm:pt>
    <dgm:pt modelId="{E9B73A15-5456-4652-AC20-9CDE8E2915D6}" type="sibTrans" cxnId="{2112D816-86D8-4B86-8D84-9FFFF22D99B5}">
      <dgm:prSet/>
      <dgm:spPr/>
      <dgm:t>
        <a:bodyPr/>
        <a:lstStyle/>
        <a:p>
          <a:endParaRPr lang="en-US"/>
        </a:p>
      </dgm:t>
    </dgm:pt>
    <dgm:pt modelId="{3F966182-D5D9-4C91-B741-A5FD78203A75}">
      <dgm:prSet/>
      <dgm:spPr/>
      <dgm:t>
        <a:bodyPr/>
        <a:lstStyle/>
        <a:p>
          <a:pPr>
            <a:buNone/>
          </a:pPr>
          <a:r>
            <a:rPr lang="nl-NL"/>
            <a:t>Mooi cijfer voor samenwerking!</a:t>
          </a:r>
        </a:p>
      </dgm:t>
    </dgm:pt>
    <dgm:pt modelId="{B8FEF55A-A71F-416D-973F-009AC634C067}" type="parTrans" cxnId="{74090D61-2489-4DCD-966F-A2EA9FEE8140}">
      <dgm:prSet/>
      <dgm:spPr/>
      <dgm:t>
        <a:bodyPr/>
        <a:lstStyle/>
        <a:p>
          <a:endParaRPr lang="en-US"/>
        </a:p>
      </dgm:t>
    </dgm:pt>
    <dgm:pt modelId="{465E3258-6820-4ADA-A0F6-8298480C0D29}" type="sibTrans" cxnId="{74090D61-2489-4DCD-966F-A2EA9FEE8140}">
      <dgm:prSet/>
      <dgm:spPr/>
      <dgm:t>
        <a:bodyPr/>
        <a:lstStyle/>
        <a:p>
          <a:endParaRPr lang="en-US"/>
        </a:p>
      </dgm:t>
    </dgm:pt>
    <dgm:pt modelId="{3B788013-8BB3-4C3C-B511-2589AA9836C3}">
      <dgm:prSet/>
      <dgm:spPr/>
      <dgm:t>
        <a:bodyPr/>
        <a:lstStyle/>
        <a:p>
          <a:pPr>
            <a:buNone/>
          </a:pPr>
          <a:r>
            <a:rPr lang="nl-NL"/>
            <a:t>Ook behoefte om deze samenwerking te versterken.</a:t>
          </a:r>
        </a:p>
      </dgm:t>
    </dgm:pt>
    <dgm:pt modelId="{3FD5263D-5990-476F-A066-8F7591EC244F}" type="parTrans" cxnId="{62DB74D8-FC05-4A03-BE08-664ACCD7EB59}">
      <dgm:prSet/>
      <dgm:spPr/>
      <dgm:t>
        <a:bodyPr/>
        <a:lstStyle/>
        <a:p>
          <a:endParaRPr lang="en-US"/>
        </a:p>
      </dgm:t>
    </dgm:pt>
    <dgm:pt modelId="{C0077FE3-A90F-4FF4-A565-C49A5C3DC7FA}" type="sibTrans" cxnId="{62DB74D8-FC05-4A03-BE08-664ACCD7EB59}">
      <dgm:prSet/>
      <dgm:spPr/>
      <dgm:t>
        <a:bodyPr/>
        <a:lstStyle/>
        <a:p>
          <a:endParaRPr lang="en-US"/>
        </a:p>
      </dgm:t>
    </dgm:pt>
    <dgm:pt modelId="{0E3C75A9-6304-4B74-8242-BF7DAA45BC57}">
      <dgm:prSet/>
      <dgm:spPr/>
      <dgm:t>
        <a:bodyPr/>
        <a:lstStyle/>
        <a:p>
          <a:r>
            <a:rPr lang="nl-NL" dirty="0"/>
            <a:t>Soms onduidelijk wie aan welk thema/ resultaat werkt. Dat kan het gevoel oproepen van niet transparant zijn.</a:t>
          </a:r>
          <a:endParaRPr lang="nl-NL" dirty="0">
            <a:solidFill>
              <a:srgbClr val="FF0000"/>
            </a:solidFill>
          </a:endParaRPr>
        </a:p>
        <a:p>
          <a:endParaRPr lang="nl-NL" dirty="0"/>
        </a:p>
      </dgm:t>
    </dgm:pt>
    <dgm:pt modelId="{2CC63CFC-792B-495A-9C81-1451318F199E}" type="parTrans" cxnId="{C84355C2-E104-4272-96F8-D92ABFF8E76B}">
      <dgm:prSet/>
      <dgm:spPr/>
      <dgm:t>
        <a:bodyPr/>
        <a:lstStyle/>
        <a:p>
          <a:endParaRPr lang="nl-NL"/>
        </a:p>
      </dgm:t>
    </dgm:pt>
    <dgm:pt modelId="{A117C690-D8E0-43D5-9AE8-B7702FD1198D}" type="sibTrans" cxnId="{C84355C2-E104-4272-96F8-D92ABFF8E76B}">
      <dgm:prSet/>
      <dgm:spPr/>
      <dgm:t>
        <a:bodyPr/>
        <a:lstStyle/>
        <a:p>
          <a:endParaRPr lang="nl-NL"/>
        </a:p>
      </dgm:t>
    </dgm:pt>
    <dgm:pt modelId="{A1FDF9D1-E1D6-423F-A7C4-4E8146252E9C}">
      <dgm:prSet/>
      <dgm:spPr/>
      <dgm:t>
        <a:bodyPr/>
        <a:lstStyle/>
        <a:p>
          <a:r>
            <a:rPr lang="nl-NL" dirty="0"/>
            <a:t>De overleggen worden goed gewaardeerd. De manier waarop het netwerk georganiseerd is, kan beter.</a:t>
          </a:r>
        </a:p>
      </dgm:t>
    </dgm:pt>
    <dgm:pt modelId="{AFF3CE89-3CAF-4676-8C90-AF4D27AC178E}" type="parTrans" cxnId="{818B3294-AC0E-4CC7-AB94-63C459A9FC7B}">
      <dgm:prSet/>
      <dgm:spPr/>
      <dgm:t>
        <a:bodyPr/>
        <a:lstStyle/>
        <a:p>
          <a:endParaRPr lang="nl-NL"/>
        </a:p>
      </dgm:t>
    </dgm:pt>
    <dgm:pt modelId="{D20C5E97-F2CC-4F99-9277-4F4CBC11CE89}" type="sibTrans" cxnId="{818B3294-AC0E-4CC7-AB94-63C459A9FC7B}">
      <dgm:prSet/>
      <dgm:spPr/>
      <dgm:t>
        <a:bodyPr/>
        <a:lstStyle/>
        <a:p>
          <a:endParaRPr lang="nl-NL"/>
        </a:p>
      </dgm:t>
    </dgm:pt>
    <dgm:pt modelId="{95FF6CE4-E1CA-4B7C-8EEA-0BEA884D5106}">
      <dgm:prSet/>
      <dgm:spPr/>
      <dgm:t>
        <a:bodyPr/>
        <a:lstStyle/>
        <a:p>
          <a:pPr>
            <a:buNone/>
          </a:pPr>
          <a:r>
            <a:rPr lang="nl-NL"/>
            <a:t>Belangen worden nog niet altijd besproken. Er is wel behoefte aan.</a:t>
          </a:r>
        </a:p>
      </dgm:t>
    </dgm:pt>
    <dgm:pt modelId="{4A7C759E-815E-4CD0-9076-5045AD623FB9}" type="parTrans" cxnId="{8BCBA020-66CB-4D0E-BD5D-8347F95BF03C}">
      <dgm:prSet/>
      <dgm:spPr/>
      <dgm:t>
        <a:bodyPr/>
        <a:lstStyle/>
        <a:p>
          <a:endParaRPr lang="nl-NL"/>
        </a:p>
      </dgm:t>
    </dgm:pt>
    <dgm:pt modelId="{CD60E013-155B-4B53-A20D-99D71A13A0FF}" type="sibTrans" cxnId="{8BCBA020-66CB-4D0E-BD5D-8347F95BF03C}">
      <dgm:prSet/>
      <dgm:spPr/>
      <dgm:t>
        <a:bodyPr/>
        <a:lstStyle/>
        <a:p>
          <a:endParaRPr lang="nl-NL"/>
        </a:p>
      </dgm:t>
    </dgm:pt>
    <dgm:pt modelId="{D6069143-CFE9-405A-8CF6-248085D3D312}">
      <dgm:prSet/>
      <dgm:spPr/>
      <dgm:t>
        <a:bodyPr/>
        <a:lstStyle/>
        <a:p>
          <a:r>
            <a:rPr lang="nl-NL"/>
            <a:t>Maatschappelijke bewustwording en deskundigheid goed op orde. </a:t>
          </a:r>
        </a:p>
      </dgm:t>
    </dgm:pt>
    <dgm:pt modelId="{ECE6D0C9-BA78-4062-9C58-C133893A84BE}" type="parTrans" cxnId="{C46CE7B4-3113-4146-A366-72BE36A7E83E}">
      <dgm:prSet/>
      <dgm:spPr/>
      <dgm:t>
        <a:bodyPr/>
        <a:lstStyle/>
        <a:p>
          <a:endParaRPr lang="nl-NL"/>
        </a:p>
      </dgm:t>
    </dgm:pt>
    <dgm:pt modelId="{7EAF18C3-80CB-4F42-B443-5DF1AFD5E971}" type="sibTrans" cxnId="{C46CE7B4-3113-4146-A366-72BE36A7E83E}">
      <dgm:prSet/>
      <dgm:spPr/>
      <dgm:t>
        <a:bodyPr/>
        <a:lstStyle/>
        <a:p>
          <a:endParaRPr lang="nl-NL"/>
        </a:p>
      </dgm:t>
    </dgm:pt>
    <dgm:pt modelId="{4281251B-405E-43BF-8D2A-EB0706D4447A}" type="pres">
      <dgm:prSet presAssocID="{59E21526-C0D7-41A8-A0D6-048D006F8FA1}" presName="linear" presStyleCnt="0">
        <dgm:presLayoutVars>
          <dgm:animLvl val="lvl"/>
          <dgm:resizeHandles val="exact"/>
        </dgm:presLayoutVars>
      </dgm:prSet>
      <dgm:spPr/>
    </dgm:pt>
    <dgm:pt modelId="{63B0F265-C8C2-4B11-A93D-A63B657824A0}" type="pres">
      <dgm:prSet presAssocID="{D05CAE34-FD5C-4250-B89E-1B544C53E401}" presName="parentText" presStyleLbl="node1" presStyleIdx="0" presStyleCnt="7">
        <dgm:presLayoutVars>
          <dgm:chMax val="0"/>
          <dgm:bulletEnabled val="1"/>
        </dgm:presLayoutVars>
      </dgm:prSet>
      <dgm:spPr/>
    </dgm:pt>
    <dgm:pt modelId="{28E4CABE-2630-4C30-A33C-814757BFAE87}" type="pres">
      <dgm:prSet presAssocID="{E9B73A15-5456-4652-AC20-9CDE8E2915D6}" presName="spacer" presStyleCnt="0"/>
      <dgm:spPr/>
    </dgm:pt>
    <dgm:pt modelId="{078ECCA1-69E2-4E13-A52D-E290E7B136A5}" type="pres">
      <dgm:prSet presAssocID="{95FF6CE4-E1CA-4B7C-8EEA-0BEA884D5106}" presName="parentText" presStyleLbl="node1" presStyleIdx="1" presStyleCnt="7">
        <dgm:presLayoutVars>
          <dgm:chMax val="0"/>
          <dgm:bulletEnabled val="1"/>
        </dgm:presLayoutVars>
      </dgm:prSet>
      <dgm:spPr/>
    </dgm:pt>
    <dgm:pt modelId="{F0152FC2-7486-47D8-B493-FD12A0722EE4}" type="pres">
      <dgm:prSet presAssocID="{CD60E013-155B-4B53-A20D-99D71A13A0FF}" presName="spacer" presStyleCnt="0"/>
      <dgm:spPr/>
    </dgm:pt>
    <dgm:pt modelId="{AD077BF4-98E7-4258-A81D-9A26D486A7DF}" type="pres">
      <dgm:prSet presAssocID="{3F966182-D5D9-4C91-B741-A5FD78203A75}" presName="parentText" presStyleLbl="node1" presStyleIdx="2" presStyleCnt="7">
        <dgm:presLayoutVars>
          <dgm:chMax val="0"/>
          <dgm:bulletEnabled val="1"/>
        </dgm:presLayoutVars>
      </dgm:prSet>
      <dgm:spPr/>
    </dgm:pt>
    <dgm:pt modelId="{0BB5F7E2-E0F8-4FDC-931E-D7AD04DD7231}" type="pres">
      <dgm:prSet presAssocID="{465E3258-6820-4ADA-A0F6-8298480C0D29}" presName="spacer" presStyleCnt="0"/>
      <dgm:spPr/>
    </dgm:pt>
    <dgm:pt modelId="{5D8FD7EA-E7CD-4A13-BAA4-D26DBEB75756}" type="pres">
      <dgm:prSet presAssocID="{3B788013-8BB3-4C3C-B511-2589AA9836C3}" presName="parentText" presStyleLbl="node1" presStyleIdx="3" presStyleCnt="7">
        <dgm:presLayoutVars>
          <dgm:chMax val="0"/>
          <dgm:bulletEnabled val="1"/>
        </dgm:presLayoutVars>
      </dgm:prSet>
      <dgm:spPr/>
    </dgm:pt>
    <dgm:pt modelId="{10EAF1B6-26DE-4140-8F7C-0673A2BF57F4}" type="pres">
      <dgm:prSet presAssocID="{C0077FE3-A90F-4FF4-A565-C49A5C3DC7FA}" presName="spacer" presStyleCnt="0"/>
      <dgm:spPr/>
    </dgm:pt>
    <dgm:pt modelId="{15A121D6-D0DB-4AE2-A0FE-85B8C964196B}" type="pres">
      <dgm:prSet presAssocID="{0E3C75A9-6304-4B74-8242-BF7DAA45BC57}" presName="parentText" presStyleLbl="node1" presStyleIdx="4" presStyleCnt="7">
        <dgm:presLayoutVars>
          <dgm:chMax val="0"/>
          <dgm:bulletEnabled val="1"/>
        </dgm:presLayoutVars>
      </dgm:prSet>
      <dgm:spPr/>
    </dgm:pt>
    <dgm:pt modelId="{5A8AA15C-3DA0-4C7E-B421-1D96B439213F}" type="pres">
      <dgm:prSet presAssocID="{A117C690-D8E0-43D5-9AE8-B7702FD1198D}" presName="spacer" presStyleCnt="0"/>
      <dgm:spPr/>
    </dgm:pt>
    <dgm:pt modelId="{14EC461D-7291-4DAB-861C-4517664508B2}" type="pres">
      <dgm:prSet presAssocID="{A1FDF9D1-E1D6-423F-A7C4-4E8146252E9C}" presName="parentText" presStyleLbl="node1" presStyleIdx="5" presStyleCnt="7">
        <dgm:presLayoutVars>
          <dgm:chMax val="0"/>
          <dgm:bulletEnabled val="1"/>
        </dgm:presLayoutVars>
      </dgm:prSet>
      <dgm:spPr/>
    </dgm:pt>
    <dgm:pt modelId="{FB2194F9-793F-4925-8DE7-EB1A8C55A793}" type="pres">
      <dgm:prSet presAssocID="{D20C5E97-F2CC-4F99-9277-4F4CBC11CE89}" presName="spacer" presStyleCnt="0"/>
      <dgm:spPr/>
    </dgm:pt>
    <dgm:pt modelId="{CD07C734-2F6D-4AAB-A529-6762DB9A2E3D}" type="pres">
      <dgm:prSet presAssocID="{D6069143-CFE9-405A-8CF6-248085D3D312}" presName="parentText" presStyleLbl="node1" presStyleIdx="6" presStyleCnt="7">
        <dgm:presLayoutVars>
          <dgm:chMax val="0"/>
          <dgm:bulletEnabled val="1"/>
        </dgm:presLayoutVars>
      </dgm:prSet>
      <dgm:spPr/>
    </dgm:pt>
  </dgm:ptLst>
  <dgm:cxnLst>
    <dgm:cxn modelId="{9BC66303-C8DB-4F89-A8F5-95A409DFB95B}" type="presOf" srcId="{A1FDF9D1-E1D6-423F-A7C4-4E8146252E9C}" destId="{14EC461D-7291-4DAB-861C-4517664508B2}" srcOrd="0" destOrd="0" presId="urn:microsoft.com/office/officeart/2005/8/layout/vList2"/>
    <dgm:cxn modelId="{2112D816-86D8-4B86-8D84-9FFFF22D99B5}" srcId="{59E21526-C0D7-41A8-A0D6-048D006F8FA1}" destId="{D05CAE34-FD5C-4250-B89E-1B544C53E401}" srcOrd="0" destOrd="0" parTransId="{568B7305-CA3A-4187-ABEC-EC0CABFB6F2D}" sibTransId="{E9B73A15-5456-4652-AC20-9CDE8E2915D6}"/>
    <dgm:cxn modelId="{8BCBA020-66CB-4D0E-BD5D-8347F95BF03C}" srcId="{59E21526-C0D7-41A8-A0D6-048D006F8FA1}" destId="{95FF6CE4-E1CA-4B7C-8EEA-0BEA884D5106}" srcOrd="1" destOrd="0" parTransId="{4A7C759E-815E-4CD0-9076-5045AD623FB9}" sibTransId="{CD60E013-155B-4B53-A20D-99D71A13A0FF}"/>
    <dgm:cxn modelId="{BA102836-DE06-4F62-82D3-274FBACD9BD5}" type="presOf" srcId="{59E21526-C0D7-41A8-A0D6-048D006F8FA1}" destId="{4281251B-405E-43BF-8D2A-EB0706D4447A}" srcOrd="0" destOrd="0" presId="urn:microsoft.com/office/officeart/2005/8/layout/vList2"/>
    <dgm:cxn modelId="{74090D61-2489-4DCD-966F-A2EA9FEE8140}" srcId="{59E21526-C0D7-41A8-A0D6-048D006F8FA1}" destId="{3F966182-D5D9-4C91-B741-A5FD78203A75}" srcOrd="2" destOrd="0" parTransId="{B8FEF55A-A71F-416D-973F-009AC634C067}" sibTransId="{465E3258-6820-4ADA-A0F6-8298480C0D29}"/>
    <dgm:cxn modelId="{818B3294-AC0E-4CC7-AB94-63C459A9FC7B}" srcId="{59E21526-C0D7-41A8-A0D6-048D006F8FA1}" destId="{A1FDF9D1-E1D6-423F-A7C4-4E8146252E9C}" srcOrd="5" destOrd="0" parTransId="{AFF3CE89-3CAF-4676-8C90-AF4D27AC178E}" sibTransId="{D20C5E97-F2CC-4F99-9277-4F4CBC11CE89}"/>
    <dgm:cxn modelId="{603EDC95-2138-4C0E-8DDD-25EC4CA6DE78}" type="presOf" srcId="{3B788013-8BB3-4C3C-B511-2589AA9836C3}" destId="{5D8FD7EA-E7CD-4A13-BAA4-D26DBEB75756}" srcOrd="0" destOrd="0" presId="urn:microsoft.com/office/officeart/2005/8/layout/vList2"/>
    <dgm:cxn modelId="{692278A4-B380-472D-8509-0AD749BB0563}" type="presOf" srcId="{0E3C75A9-6304-4B74-8242-BF7DAA45BC57}" destId="{15A121D6-D0DB-4AE2-A0FE-85B8C964196B}" srcOrd="0" destOrd="0" presId="urn:microsoft.com/office/officeart/2005/8/layout/vList2"/>
    <dgm:cxn modelId="{0659DBAF-FB6B-4E4B-B215-7173F4ADA17E}" type="presOf" srcId="{D05CAE34-FD5C-4250-B89E-1B544C53E401}" destId="{63B0F265-C8C2-4B11-A93D-A63B657824A0}" srcOrd="0" destOrd="0" presId="urn:microsoft.com/office/officeart/2005/8/layout/vList2"/>
    <dgm:cxn modelId="{C46CE7B4-3113-4146-A366-72BE36A7E83E}" srcId="{59E21526-C0D7-41A8-A0D6-048D006F8FA1}" destId="{D6069143-CFE9-405A-8CF6-248085D3D312}" srcOrd="6" destOrd="0" parTransId="{ECE6D0C9-BA78-4062-9C58-C133893A84BE}" sibTransId="{7EAF18C3-80CB-4F42-B443-5DF1AFD5E971}"/>
    <dgm:cxn modelId="{C84355C2-E104-4272-96F8-D92ABFF8E76B}" srcId="{59E21526-C0D7-41A8-A0D6-048D006F8FA1}" destId="{0E3C75A9-6304-4B74-8242-BF7DAA45BC57}" srcOrd="4" destOrd="0" parTransId="{2CC63CFC-792B-495A-9C81-1451318F199E}" sibTransId="{A117C690-D8E0-43D5-9AE8-B7702FD1198D}"/>
    <dgm:cxn modelId="{0086FDC7-AA1A-4677-9A6B-68A26E10A627}" type="presOf" srcId="{95FF6CE4-E1CA-4B7C-8EEA-0BEA884D5106}" destId="{078ECCA1-69E2-4E13-A52D-E290E7B136A5}" srcOrd="0" destOrd="0" presId="urn:microsoft.com/office/officeart/2005/8/layout/vList2"/>
    <dgm:cxn modelId="{0A7764D0-F1CD-472C-9E3F-2F7F6A25E4E7}" type="presOf" srcId="{3F966182-D5D9-4C91-B741-A5FD78203A75}" destId="{AD077BF4-98E7-4258-A81D-9A26D486A7DF}" srcOrd="0" destOrd="0" presId="urn:microsoft.com/office/officeart/2005/8/layout/vList2"/>
    <dgm:cxn modelId="{62DB74D8-FC05-4A03-BE08-664ACCD7EB59}" srcId="{59E21526-C0D7-41A8-A0D6-048D006F8FA1}" destId="{3B788013-8BB3-4C3C-B511-2589AA9836C3}" srcOrd="3" destOrd="0" parTransId="{3FD5263D-5990-476F-A066-8F7591EC244F}" sibTransId="{C0077FE3-A90F-4FF4-A565-C49A5C3DC7FA}"/>
    <dgm:cxn modelId="{CE460BF7-1139-49A7-8DB9-1F36FDD73D92}" type="presOf" srcId="{D6069143-CFE9-405A-8CF6-248085D3D312}" destId="{CD07C734-2F6D-4AAB-A529-6762DB9A2E3D}" srcOrd="0" destOrd="0" presId="urn:microsoft.com/office/officeart/2005/8/layout/vList2"/>
    <dgm:cxn modelId="{82E51573-4EA9-4C76-AE6D-E1B43F848D69}" type="presParOf" srcId="{4281251B-405E-43BF-8D2A-EB0706D4447A}" destId="{63B0F265-C8C2-4B11-A93D-A63B657824A0}" srcOrd="0" destOrd="0" presId="urn:microsoft.com/office/officeart/2005/8/layout/vList2"/>
    <dgm:cxn modelId="{4422A796-F1E4-414A-88B1-009BA6EC13C4}" type="presParOf" srcId="{4281251B-405E-43BF-8D2A-EB0706D4447A}" destId="{28E4CABE-2630-4C30-A33C-814757BFAE87}" srcOrd="1" destOrd="0" presId="urn:microsoft.com/office/officeart/2005/8/layout/vList2"/>
    <dgm:cxn modelId="{EC17C387-0041-4B10-A5C0-37892753B1E4}" type="presParOf" srcId="{4281251B-405E-43BF-8D2A-EB0706D4447A}" destId="{078ECCA1-69E2-4E13-A52D-E290E7B136A5}" srcOrd="2" destOrd="0" presId="urn:microsoft.com/office/officeart/2005/8/layout/vList2"/>
    <dgm:cxn modelId="{5520CE0A-4CC9-4514-BE23-CF6074696A4D}" type="presParOf" srcId="{4281251B-405E-43BF-8D2A-EB0706D4447A}" destId="{F0152FC2-7486-47D8-B493-FD12A0722EE4}" srcOrd="3" destOrd="0" presId="urn:microsoft.com/office/officeart/2005/8/layout/vList2"/>
    <dgm:cxn modelId="{6DD56B8C-E0D7-4EBE-8798-71CF889382EC}" type="presParOf" srcId="{4281251B-405E-43BF-8D2A-EB0706D4447A}" destId="{AD077BF4-98E7-4258-A81D-9A26D486A7DF}" srcOrd="4" destOrd="0" presId="urn:microsoft.com/office/officeart/2005/8/layout/vList2"/>
    <dgm:cxn modelId="{25F05A89-8E68-4858-927F-BA67E85363F9}" type="presParOf" srcId="{4281251B-405E-43BF-8D2A-EB0706D4447A}" destId="{0BB5F7E2-E0F8-4FDC-931E-D7AD04DD7231}" srcOrd="5" destOrd="0" presId="urn:microsoft.com/office/officeart/2005/8/layout/vList2"/>
    <dgm:cxn modelId="{F3F0971A-4205-4B66-90DF-20751A5B7078}" type="presParOf" srcId="{4281251B-405E-43BF-8D2A-EB0706D4447A}" destId="{5D8FD7EA-E7CD-4A13-BAA4-D26DBEB75756}" srcOrd="6" destOrd="0" presId="urn:microsoft.com/office/officeart/2005/8/layout/vList2"/>
    <dgm:cxn modelId="{B9B35EE7-C2A5-4382-A6FA-8BED0740D140}" type="presParOf" srcId="{4281251B-405E-43BF-8D2A-EB0706D4447A}" destId="{10EAF1B6-26DE-4140-8F7C-0673A2BF57F4}" srcOrd="7" destOrd="0" presId="urn:microsoft.com/office/officeart/2005/8/layout/vList2"/>
    <dgm:cxn modelId="{E624F019-8CBE-4789-9DB4-85588C849468}" type="presParOf" srcId="{4281251B-405E-43BF-8D2A-EB0706D4447A}" destId="{15A121D6-D0DB-4AE2-A0FE-85B8C964196B}" srcOrd="8" destOrd="0" presId="urn:microsoft.com/office/officeart/2005/8/layout/vList2"/>
    <dgm:cxn modelId="{5ED24A7D-06D7-4E05-B9BC-9995BDFFFE38}" type="presParOf" srcId="{4281251B-405E-43BF-8D2A-EB0706D4447A}" destId="{5A8AA15C-3DA0-4C7E-B421-1D96B439213F}" srcOrd="9" destOrd="0" presId="urn:microsoft.com/office/officeart/2005/8/layout/vList2"/>
    <dgm:cxn modelId="{7020A957-FAAC-41EB-8B07-012484EEEB52}" type="presParOf" srcId="{4281251B-405E-43BF-8D2A-EB0706D4447A}" destId="{14EC461D-7291-4DAB-861C-4517664508B2}" srcOrd="10" destOrd="0" presId="urn:microsoft.com/office/officeart/2005/8/layout/vList2"/>
    <dgm:cxn modelId="{7FA8B4CF-32EF-4A01-B2ED-618EBE76E49D}" type="presParOf" srcId="{4281251B-405E-43BF-8D2A-EB0706D4447A}" destId="{FB2194F9-793F-4925-8DE7-EB1A8C55A793}" srcOrd="11" destOrd="0" presId="urn:microsoft.com/office/officeart/2005/8/layout/vList2"/>
    <dgm:cxn modelId="{50C7A2E7-6440-4A83-A1D2-1895639F362D}" type="presParOf" srcId="{4281251B-405E-43BF-8D2A-EB0706D4447A}" destId="{CD07C734-2F6D-4AAB-A529-6762DB9A2E3D}" srcOrd="1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6F1405-2777-46C2-87F6-C83115A38126}">
      <dsp:nvSpPr>
        <dsp:cNvPr id="0" name=""/>
        <dsp:cNvSpPr/>
      </dsp:nvSpPr>
      <dsp:spPr>
        <a:xfrm>
          <a:off x="35" y="511426"/>
          <a:ext cx="3385128" cy="126039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nl-NL" sz="2100" kern="1200"/>
            <a:t>Presentatie uitkomsten vragenlijsten en kerncijfers</a:t>
          </a:r>
          <a:endParaRPr lang="en-US" sz="2100" kern="1200"/>
        </a:p>
      </dsp:txBody>
      <dsp:txXfrm>
        <a:off x="35" y="511426"/>
        <a:ext cx="3385128" cy="1260395"/>
      </dsp:txXfrm>
    </dsp:sp>
    <dsp:sp modelId="{D3FD875C-4AD8-40F1-8949-833A7662F03E}">
      <dsp:nvSpPr>
        <dsp:cNvPr id="0" name=""/>
        <dsp:cNvSpPr/>
      </dsp:nvSpPr>
      <dsp:spPr>
        <a:xfrm>
          <a:off x="35" y="1771821"/>
          <a:ext cx="3385128" cy="2305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nl-NL" sz="2100" kern="1200"/>
            <a:t>Algemeen</a:t>
          </a:r>
          <a:endParaRPr lang="en-US" sz="2100" kern="1200"/>
        </a:p>
        <a:p>
          <a:pPr marL="228600" lvl="1" indent="-228600" algn="l" defTabSz="933450">
            <a:lnSpc>
              <a:spcPct val="90000"/>
            </a:lnSpc>
            <a:spcBef>
              <a:spcPct val="0"/>
            </a:spcBef>
            <a:spcAft>
              <a:spcPct val="15000"/>
            </a:spcAft>
            <a:buChar char="•"/>
          </a:pPr>
          <a:r>
            <a:rPr lang="nl-NL" sz="2100" kern="1200"/>
            <a:t>Samenwerking</a:t>
          </a:r>
          <a:endParaRPr lang="en-US" sz="2100" kern="1200"/>
        </a:p>
        <a:p>
          <a:pPr marL="228600" lvl="1" indent="-228600" algn="l" defTabSz="933450">
            <a:lnSpc>
              <a:spcPct val="90000"/>
            </a:lnSpc>
            <a:spcBef>
              <a:spcPct val="0"/>
            </a:spcBef>
            <a:spcAft>
              <a:spcPct val="15000"/>
            </a:spcAft>
            <a:buChar char="•"/>
          </a:pPr>
          <a:r>
            <a:rPr lang="nl-NL" sz="2100" kern="1200"/>
            <a:t>Implementatie Kwaliteitskader</a:t>
          </a:r>
          <a:endParaRPr lang="en-US" sz="2100" kern="1200"/>
        </a:p>
        <a:p>
          <a:pPr marL="228600" lvl="1" indent="-228600" algn="l" defTabSz="933450">
            <a:lnSpc>
              <a:spcPct val="90000"/>
            </a:lnSpc>
            <a:spcBef>
              <a:spcPct val="0"/>
            </a:spcBef>
            <a:spcAft>
              <a:spcPct val="15000"/>
            </a:spcAft>
            <a:buChar char="•"/>
          </a:pPr>
          <a:r>
            <a:rPr lang="en-US" sz="2100" kern="1200" err="1"/>
            <a:t>Kerncijfers</a:t>
          </a:r>
          <a:endParaRPr lang="en-US" sz="2100" kern="1200"/>
        </a:p>
      </dsp:txBody>
      <dsp:txXfrm>
        <a:off x="35" y="1771821"/>
        <a:ext cx="3385128" cy="2305800"/>
      </dsp:txXfrm>
    </dsp:sp>
    <dsp:sp modelId="{53108A53-C0A9-4C05-BA95-19989888D6BF}">
      <dsp:nvSpPr>
        <dsp:cNvPr id="0" name=""/>
        <dsp:cNvSpPr/>
      </dsp:nvSpPr>
      <dsp:spPr>
        <a:xfrm>
          <a:off x="3859082" y="511426"/>
          <a:ext cx="3385128" cy="1260395"/>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nl-NL" sz="2100" kern="1200"/>
            <a:t>Bespreekpunten</a:t>
          </a:r>
          <a:endParaRPr lang="en-US" sz="2100" kern="1200"/>
        </a:p>
      </dsp:txBody>
      <dsp:txXfrm>
        <a:off x="3859082" y="511426"/>
        <a:ext cx="3385128" cy="1260395"/>
      </dsp:txXfrm>
    </dsp:sp>
    <dsp:sp modelId="{EA195366-1EEC-4101-97A2-0D6932192A0E}">
      <dsp:nvSpPr>
        <dsp:cNvPr id="0" name=""/>
        <dsp:cNvSpPr/>
      </dsp:nvSpPr>
      <dsp:spPr>
        <a:xfrm>
          <a:off x="3859082" y="1771821"/>
          <a:ext cx="3385128" cy="230580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nl-NL" sz="1800" kern="1200" noProof="0"/>
            <a:t>Wordt het beeld herkend?</a:t>
          </a:r>
        </a:p>
        <a:p>
          <a:pPr marL="171450" lvl="1" indent="-171450" algn="l" defTabSz="800100">
            <a:lnSpc>
              <a:spcPct val="90000"/>
            </a:lnSpc>
            <a:spcBef>
              <a:spcPct val="0"/>
            </a:spcBef>
            <a:spcAft>
              <a:spcPct val="15000"/>
            </a:spcAft>
            <a:buChar char="•"/>
          </a:pPr>
          <a:r>
            <a:rPr lang="nl-NL" sz="1800" kern="1200" noProof="0"/>
            <a:t>Zijn er verrassingen?</a:t>
          </a:r>
        </a:p>
        <a:p>
          <a:pPr marL="171450" lvl="1" indent="-171450" algn="l" defTabSz="800100">
            <a:lnSpc>
              <a:spcPct val="90000"/>
            </a:lnSpc>
            <a:spcBef>
              <a:spcPct val="0"/>
            </a:spcBef>
            <a:spcAft>
              <a:spcPct val="15000"/>
            </a:spcAft>
            <a:buChar char="•"/>
          </a:pPr>
          <a:r>
            <a:rPr lang="nl-NL" sz="1800" kern="1200" noProof="0"/>
            <a:t>Discussie punten</a:t>
          </a:r>
        </a:p>
      </dsp:txBody>
      <dsp:txXfrm>
        <a:off x="3859082" y="1771821"/>
        <a:ext cx="3385128" cy="23058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71B0F5-CAE9-4370-9109-9AFD4143904B}">
      <dsp:nvSpPr>
        <dsp:cNvPr id="0" name=""/>
        <dsp:cNvSpPr/>
      </dsp:nvSpPr>
      <dsp:spPr>
        <a:xfrm>
          <a:off x="0" y="0"/>
          <a:ext cx="5218112" cy="18369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nl-NL" sz="2400" kern="1200"/>
            <a:t>Wordt het beeld herkend? </a:t>
          </a:r>
        </a:p>
        <a:p>
          <a:pPr marL="0" lvl="0" indent="0" algn="l" defTabSz="1066800">
            <a:lnSpc>
              <a:spcPct val="90000"/>
            </a:lnSpc>
            <a:spcBef>
              <a:spcPct val="0"/>
            </a:spcBef>
            <a:spcAft>
              <a:spcPct val="35000"/>
            </a:spcAft>
            <a:buNone/>
          </a:pPr>
          <a:r>
            <a:rPr lang="nl-NL" sz="2400" kern="1200"/>
            <a:t>Zijn er verrassingen?</a:t>
          </a:r>
          <a:endParaRPr lang="nl-NL" sz="2400" kern="1200">
            <a:latin typeface="Poppins"/>
          </a:endParaRPr>
        </a:p>
        <a:p>
          <a:pPr marL="0" lvl="0" indent="0" algn="l" defTabSz="1066800" rtl="0">
            <a:lnSpc>
              <a:spcPct val="90000"/>
            </a:lnSpc>
            <a:spcBef>
              <a:spcPct val="0"/>
            </a:spcBef>
            <a:spcAft>
              <a:spcPct val="35000"/>
            </a:spcAft>
            <a:buNone/>
          </a:pPr>
          <a:r>
            <a:rPr lang="nl-NL" sz="2400" kern="1200">
              <a:latin typeface="Poppins"/>
            </a:rPr>
            <a:t>Mist u iets?</a:t>
          </a:r>
        </a:p>
      </dsp:txBody>
      <dsp:txXfrm>
        <a:off x="89675" y="89675"/>
        <a:ext cx="5038762" cy="1657641"/>
      </dsp:txXfrm>
    </dsp:sp>
    <dsp:sp modelId="{F5CA9335-B218-4A0E-AECD-920FB2D22F4D}">
      <dsp:nvSpPr>
        <dsp:cNvPr id="0" name=""/>
        <dsp:cNvSpPr/>
      </dsp:nvSpPr>
      <dsp:spPr>
        <a:xfrm>
          <a:off x="0" y="1852047"/>
          <a:ext cx="5218112" cy="183699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nl-NL" sz="2400" kern="1200"/>
            <a:t>Welke bespreekpunten zijn het meest relevant voor de dialoogsessie? </a:t>
          </a:r>
        </a:p>
      </dsp:txBody>
      <dsp:txXfrm>
        <a:off x="89675" y="1941722"/>
        <a:ext cx="5038762" cy="165764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3502E-30CA-4380-8E08-2172A2D25D86}">
      <dsp:nvSpPr>
        <dsp:cNvPr id="0" name=""/>
        <dsp:cNvSpPr/>
      </dsp:nvSpPr>
      <dsp:spPr>
        <a:xfrm>
          <a:off x="1452222" y="2088"/>
          <a:ext cx="3760430" cy="2256258"/>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nl-NL" sz="1500" b="1" kern="1200"/>
            <a:t>Activiteitencentrum</a:t>
          </a:r>
        </a:p>
        <a:p>
          <a:pPr marL="0" lvl="0" indent="0" algn="l" defTabSz="666750">
            <a:lnSpc>
              <a:spcPct val="90000"/>
            </a:lnSpc>
            <a:spcBef>
              <a:spcPct val="0"/>
            </a:spcBef>
            <a:spcAft>
              <a:spcPct val="35000"/>
            </a:spcAft>
            <a:buNone/>
          </a:pPr>
          <a:r>
            <a:rPr lang="nl-NL" sz="1500" kern="1200" noProof="0"/>
            <a:t>Bevordert </a:t>
          </a:r>
          <a:r>
            <a:rPr lang="nl-NL" sz="1500" kern="1200" noProof="0" err="1"/>
            <a:t>pz</a:t>
          </a:r>
          <a:r>
            <a:rPr lang="nl-NL" sz="1500" kern="1200" noProof="0"/>
            <a:t> expertise</a:t>
          </a:r>
        </a:p>
        <a:p>
          <a:pPr marL="0" lvl="0" indent="0" algn="l" defTabSz="666750">
            <a:lnSpc>
              <a:spcPct val="90000"/>
            </a:lnSpc>
            <a:spcBef>
              <a:spcPct val="0"/>
            </a:spcBef>
            <a:spcAft>
              <a:spcPct val="35000"/>
            </a:spcAft>
            <a:buNone/>
          </a:pPr>
          <a:r>
            <a:rPr lang="nl-NL" sz="1500" kern="1200" noProof="0"/>
            <a:t>Consultatievoorziening</a:t>
          </a:r>
        </a:p>
        <a:p>
          <a:pPr marL="0" lvl="0" indent="0" algn="l" defTabSz="666750">
            <a:lnSpc>
              <a:spcPct val="90000"/>
            </a:lnSpc>
            <a:spcBef>
              <a:spcPct val="0"/>
            </a:spcBef>
            <a:spcAft>
              <a:spcPct val="35000"/>
            </a:spcAft>
            <a:buNone/>
          </a:pPr>
          <a:r>
            <a:rPr lang="nl-NL" sz="1500" kern="1200" noProof="0"/>
            <a:t>Bevorderen uitwisselen kennis</a:t>
          </a:r>
        </a:p>
        <a:p>
          <a:pPr marL="0" lvl="0" indent="0" algn="l" defTabSz="666750">
            <a:lnSpc>
              <a:spcPct val="90000"/>
            </a:lnSpc>
            <a:spcBef>
              <a:spcPct val="0"/>
            </a:spcBef>
            <a:spcAft>
              <a:spcPct val="35000"/>
            </a:spcAft>
            <a:buNone/>
          </a:pPr>
          <a:r>
            <a:rPr lang="nl-NL" sz="1500" kern="1200" noProof="0"/>
            <a:t>Vergroten deskundigheid</a:t>
          </a:r>
        </a:p>
        <a:p>
          <a:pPr marL="0" lvl="0" indent="0" algn="l" defTabSz="666750">
            <a:lnSpc>
              <a:spcPct val="90000"/>
            </a:lnSpc>
            <a:spcBef>
              <a:spcPct val="0"/>
            </a:spcBef>
            <a:spcAft>
              <a:spcPct val="35000"/>
            </a:spcAft>
            <a:buNone/>
          </a:pPr>
          <a:r>
            <a:rPr lang="nl-NL" sz="1500" kern="1200" noProof="0"/>
            <a:t>Kennisplatform</a:t>
          </a:r>
        </a:p>
      </dsp:txBody>
      <dsp:txXfrm>
        <a:off x="1452222" y="2088"/>
        <a:ext cx="3760430" cy="2256258"/>
      </dsp:txXfrm>
    </dsp:sp>
    <dsp:sp modelId="{59EE4330-4C3D-44EB-8750-B93DA8CAC44F}">
      <dsp:nvSpPr>
        <dsp:cNvPr id="0" name=""/>
        <dsp:cNvSpPr/>
      </dsp:nvSpPr>
      <dsp:spPr>
        <a:xfrm>
          <a:off x="5588696" y="2088"/>
          <a:ext cx="3760430" cy="2256258"/>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b="1" kern="1200" noProof="0"/>
            <a:t>Optimalisatie netwerkzorg in de keten</a:t>
          </a:r>
        </a:p>
        <a:p>
          <a:pPr marL="0" lvl="0" indent="0" algn="l" defTabSz="711200">
            <a:lnSpc>
              <a:spcPct val="90000"/>
            </a:lnSpc>
            <a:spcBef>
              <a:spcPct val="0"/>
            </a:spcBef>
            <a:spcAft>
              <a:spcPct val="35000"/>
            </a:spcAft>
            <a:buNone/>
          </a:pPr>
          <a:r>
            <a:rPr lang="nl-NL" sz="1600" kern="1200" noProof="0"/>
            <a:t>Bevorderen samenhang en samenwerking, stimuleren ontwikkeling, vaststelling, implementatie en borging transmurale netwerkafspraken.</a:t>
          </a:r>
        </a:p>
      </dsp:txBody>
      <dsp:txXfrm>
        <a:off x="5588696" y="2088"/>
        <a:ext cx="3760430" cy="2256258"/>
      </dsp:txXfrm>
    </dsp:sp>
    <dsp:sp modelId="{BABCE607-7FE0-46A7-A876-D9714615E36E}">
      <dsp:nvSpPr>
        <dsp:cNvPr id="0" name=""/>
        <dsp:cNvSpPr/>
      </dsp:nvSpPr>
      <dsp:spPr>
        <a:xfrm>
          <a:off x="1464594" y="2553796"/>
          <a:ext cx="3760430" cy="2256258"/>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br>
            <a:rPr lang="nl-NL" sz="1600" b="1" kern="1200" noProof="0"/>
          </a:br>
          <a:r>
            <a:rPr lang="nl-NL" sz="1600" b="1" kern="1200" noProof="0"/>
            <a:t>Belangenbehartiging</a:t>
          </a:r>
        </a:p>
        <a:p>
          <a:pPr marL="0" lvl="0" indent="0" algn="l" defTabSz="711200">
            <a:lnSpc>
              <a:spcPct val="90000"/>
            </a:lnSpc>
            <a:spcBef>
              <a:spcPct val="0"/>
            </a:spcBef>
            <a:spcAft>
              <a:spcPct val="35000"/>
            </a:spcAft>
            <a:buNone/>
          </a:pPr>
          <a:r>
            <a:rPr lang="nl-NL" sz="1600" kern="1200" noProof="0"/>
            <a:t>Uitdragen belang goede </a:t>
          </a:r>
          <a:r>
            <a:rPr lang="nl-NL" sz="1600" kern="1200" noProof="0" err="1"/>
            <a:t>pz</a:t>
          </a:r>
          <a:endParaRPr lang="nl-NL" sz="1600" kern="1200" noProof="0"/>
        </a:p>
        <a:p>
          <a:pPr marL="0" lvl="0" indent="0" algn="l" defTabSz="711200">
            <a:lnSpc>
              <a:spcPct val="90000"/>
            </a:lnSpc>
            <a:spcBef>
              <a:spcPct val="0"/>
            </a:spcBef>
            <a:spcAft>
              <a:spcPct val="35000"/>
            </a:spcAft>
            <a:buNone/>
          </a:pPr>
          <a:r>
            <a:rPr lang="nl-NL" sz="1600" kern="1200" noProof="0"/>
            <a:t>Realiseren randvoorwaarden waaronder divers aanbod</a:t>
          </a:r>
        </a:p>
        <a:p>
          <a:pPr marL="0" lvl="0" indent="0" algn="l" defTabSz="711200">
            <a:lnSpc>
              <a:spcPct val="90000"/>
            </a:lnSpc>
            <a:spcBef>
              <a:spcPct val="0"/>
            </a:spcBef>
            <a:spcAft>
              <a:spcPct val="35000"/>
            </a:spcAft>
            <a:buNone/>
          </a:pPr>
          <a:r>
            <a:rPr lang="nl-NL" sz="1600" kern="1200" noProof="0"/>
            <a:t>Versterken positie </a:t>
          </a:r>
          <a:r>
            <a:rPr lang="nl-NL" sz="1600" kern="1200" noProof="0" err="1"/>
            <a:t>pz</a:t>
          </a:r>
          <a:r>
            <a:rPr lang="nl-NL" sz="1600" kern="1200" noProof="0"/>
            <a:t> en netwerk in de regio</a:t>
          </a:r>
        </a:p>
        <a:p>
          <a:pPr marL="0" lvl="0" indent="0" algn="ctr" defTabSz="711200">
            <a:lnSpc>
              <a:spcPct val="90000"/>
            </a:lnSpc>
            <a:spcBef>
              <a:spcPct val="0"/>
            </a:spcBef>
            <a:spcAft>
              <a:spcPct val="35000"/>
            </a:spcAft>
            <a:buNone/>
          </a:pPr>
          <a:endParaRPr lang="nl-NL" sz="1600" kern="1200" noProof="0"/>
        </a:p>
      </dsp:txBody>
      <dsp:txXfrm>
        <a:off x="1464594" y="2553796"/>
        <a:ext cx="3760430" cy="2256258"/>
      </dsp:txXfrm>
    </dsp:sp>
    <dsp:sp modelId="{C27D2524-3331-4EC2-8245-B1F2BDC07F27}">
      <dsp:nvSpPr>
        <dsp:cNvPr id="0" name=""/>
        <dsp:cNvSpPr/>
      </dsp:nvSpPr>
      <dsp:spPr>
        <a:xfrm>
          <a:off x="5600842" y="2549509"/>
          <a:ext cx="3760430" cy="2256258"/>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b="1" kern="1200" noProof="0">
              <a:solidFill>
                <a:srgbClr val="FFFFFF"/>
              </a:solidFill>
              <a:latin typeface="Poppins"/>
              <a:ea typeface="+mn-ea"/>
              <a:cs typeface="+mn-cs"/>
            </a:rPr>
            <a:t>Informatievoorziening</a:t>
          </a:r>
          <a:endParaRPr lang="nl-NL" sz="1600" b="0" kern="1200" noProof="0">
            <a:solidFill>
              <a:srgbClr val="FFFFFF"/>
            </a:solidFill>
            <a:latin typeface="Poppins"/>
            <a:ea typeface="+mn-ea"/>
            <a:cs typeface="+mn-cs"/>
          </a:endParaRPr>
        </a:p>
        <a:p>
          <a:pPr marL="0" lvl="0" indent="0" algn="l" defTabSz="711200">
            <a:lnSpc>
              <a:spcPct val="90000"/>
            </a:lnSpc>
            <a:spcBef>
              <a:spcPct val="0"/>
            </a:spcBef>
            <a:spcAft>
              <a:spcPct val="35000"/>
            </a:spcAft>
            <a:buNone/>
          </a:pPr>
          <a:r>
            <a:rPr lang="nl-NL" sz="1600" b="0" kern="1200" noProof="0">
              <a:solidFill>
                <a:srgbClr val="FFFFFF"/>
              </a:solidFill>
              <a:latin typeface="Poppins"/>
              <a:ea typeface="+mn-ea"/>
              <a:cs typeface="+mn-cs"/>
            </a:rPr>
            <a:t>Inzicht in aanbod pz via website, palliarts, brochures etc</a:t>
          </a:r>
        </a:p>
        <a:p>
          <a:pPr marL="0" lvl="0" indent="0" algn="l" defTabSz="711200">
            <a:lnSpc>
              <a:spcPct val="90000"/>
            </a:lnSpc>
            <a:spcBef>
              <a:spcPct val="0"/>
            </a:spcBef>
            <a:spcAft>
              <a:spcPct val="35000"/>
            </a:spcAft>
            <a:buNone/>
          </a:pPr>
          <a:r>
            <a:rPr lang="nl-NL" sz="1600" b="0" kern="1200" noProof="0">
              <a:solidFill>
                <a:srgbClr val="FFFFFF"/>
              </a:solidFill>
              <a:latin typeface="Poppins"/>
              <a:ea typeface="+mn-ea"/>
              <a:cs typeface="+mn-cs"/>
            </a:rPr>
            <a:t>Verstrekken publieksinformatie</a:t>
          </a:r>
        </a:p>
        <a:p>
          <a:pPr marL="0" lvl="0" indent="0" algn="l" defTabSz="711200">
            <a:lnSpc>
              <a:spcPct val="90000"/>
            </a:lnSpc>
            <a:spcBef>
              <a:spcPct val="0"/>
            </a:spcBef>
            <a:spcAft>
              <a:spcPct val="35000"/>
            </a:spcAft>
            <a:buNone/>
          </a:pPr>
          <a:r>
            <a:rPr lang="nl-NL" sz="1600" b="0" kern="1200" noProof="0">
              <a:solidFill>
                <a:srgbClr val="FFFFFF"/>
              </a:solidFill>
              <a:latin typeface="Poppins"/>
              <a:ea typeface="+mn-ea"/>
              <a:cs typeface="+mn-cs"/>
            </a:rPr>
            <a:t>Uitgeven van nieuwsbrieven, informeren netwerkpartners</a:t>
          </a:r>
        </a:p>
      </dsp:txBody>
      <dsp:txXfrm>
        <a:off x="5600842" y="2549509"/>
        <a:ext cx="3760430" cy="22562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71B0F5-CAE9-4370-9109-9AFD4143904B}">
      <dsp:nvSpPr>
        <dsp:cNvPr id="0" name=""/>
        <dsp:cNvSpPr/>
      </dsp:nvSpPr>
      <dsp:spPr>
        <a:xfrm>
          <a:off x="0" y="0"/>
          <a:ext cx="5218112" cy="368751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nl-NL" sz="3600" kern="1200"/>
            <a:t>Wordt het beeld herkend? </a:t>
          </a:r>
        </a:p>
        <a:p>
          <a:pPr marL="0" lvl="0" indent="0" algn="l" defTabSz="1600200">
            <a:lnSpc>
              <a:spcPct val="90000"/>
            </a:lnSpc>
            <a:spcBef>
              <a:spcPct val="0"/>
            </a:spcBef>
            <a:spcAft>
              <a:spcPct val="35000"/>
            </a:spcAft>
            <a:buNone/>
          </a:pPr>
          <a:r>
            <a:rPr lang="nl-NL" sz="3600" kern="1200"/>
            <a:t>Zijn er verrassingen?</a:t>
          </a:r>
          <a:endParaRPr lang="nl-NL" sz="3600" kern="1200">
            <a:latin typeface="Poppins"/>
          </a:endParaRPr>
        </a:p>
        <a:p>
          <a:pPr marL="0" lvl="0" indent="0" algn="l" defTabSz="1600200" rtl="0">
            <a:lnSpc>
              <a:spcPct val="90000"/>
            </a:lnSpc>
            <a:spcBef>
              <a:spcPct val="0"/>
            </a:spcBef>
            <a:spcAft>
              <a:spcPct val="35000"/>
            </a:spcAft>
            <a:buNone/>
          </a:pPr>
          <a:r>
            <a:rPr lang="nl-NL" sz="3600" kern="1200">
              <a:latin typeface="Poppins"/>
            </a:rPr>
            <a:t>Mist u iets?</a:t>
          </a:r>
        </a:p>
      </dsp:txBody>
      <dsp:txXfrm>
        <a:off x="180009" y="180009"/>
        <a:ext cx="4858094" cy="33274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3502E-30CA-4380-8E08-2172A2D25D86}">
      <dsp:nvSpPr>
        <dsp:cNvPr id="0" name=""/>
        <dsp:cNvSpPr/>
      </dsp:nvSpPr>
      <dsp:spPr>
        <a:xfrm>
          <a:off x="587326" y="1131"/>
          <a:ext cx="3761903" cy="225714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nl-NL" sz="2100" kern="1200"/>
            <a:t>Er is niet altijd een gedeeld beeld. Staat al veel rond de ambitie, behoefte aan zichtbaarder en concreter.</a:t>
          </a:r>
          <a:endParaRPr lang="en-US" sz="2100" kern="1200"/>
        </a:p>
      </dsp:txBody>
      <dsp:txXfrm>
        <a:off x="587326" y="1131"/>
        <a:ext cx="3761903" cy="2257141"/>
      </dsp:txXfrm>
    </dsp:sp>
    <dsp:sp modelId="{59EE4330-4C3D-44EB-8750-B93DA8CAC44F}">
      <dsp:nvSpPr>
        <dsp:cNvPr id="0" name=""/>
        <dsp:cNvSpPr/>
      </dsp:nvSpPr>
      <dsp:spPr>
        <a:xfrm>
          <a:off x="4725420" y="1131"/>
          <a:ext cx="3761903" cy="225714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l-NL" sz="1400" kern="1200"/>
            <a:t>Bestuurders positiever over gedeeld beeld dan zorgverleners/ leidinggevenden.</a:t>
          </a:r>
          <a:endParaRPr lang="en-US" sz="1400" kern="1200"/>
        </a:p>
      </dsp:txBody>
      <dsp:txXfrm>
        <a:off x="4725420" y="1131"/>
        <a:ext cx="3761903" cy="2257141"/>
      </dsp:txXfrm>
    </dsp:sp>
    <dsp:sp modelId="{BABCE607-7FE0-46A7-A876-D9714615E36E}">
      <dsp:nvSpPr>
        <dsp:cNvPr id="0" name=""/>
        <dsp:cNvSpPr/>
      </dsp:nvSpPr>
      <dsp:spPr>
        <a:xfrm>
          <a:off x="599703" y="2553838"/>
          <a:ext cx="3761903" cy="225714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err="1"/>
            <a:t>Niet</a:t>
          </a:r>
          <a:r>
            <a:rPr lang="en-US" sz="1400" kern="1200"/>
            <a:t> </a:t>
          </a:r>
          <a:r>
            <a:rPr lang="en-US" sz="1400" kern="1200" err="1"/>
            <a:t>altijd</a:t>
          </a:r>
          <a:r>
            <a:rPr lang="en-US" sz="1400" kern="1200"/>
            <a:t> </a:t>
          </a:r>
          <a:r>
            <a:rPr lang="en-US" sz="1400" kern="1200" err="1"/>
            <a:t>duidelijk</a:t>
          </a:r>
          <a:r>
            <a:rPr lang="en-US" sz="1400" kern="1200"/>
            <a:t> of de </a:t>
          </a:r>
          <a:r>
            <a:rPr lang="en-US" sz="1400" kern="1200" err="1"/>
            <a:t>resultaten</a:t>
          </a:r>
          <a:r>
            <a:rPr lang="en-US" sz="1400" kern="1200"/>
            <a:t> </a:t>
          </a:r>
          <a:r>
            <a:rPr lang="en-US" sz="1400" kern="1200" err="1"/>
            <a:t>daadwerkelijk</a:t>
          </a:r>
          <a:r>
            <a:rPr lang="en-US" sz="1400" kern="1200"/>
            <a:t> </a:t>
          </a:r>
          <a:r>
            <a:rPr lang="en-US" sz="1400" kern="1200" err="1"/>
            <a:t>gehaald</a:t>
          </a:r>
          <a:r>
            <a:rPr lang="en-US" sz="1400" kern="1200"/>
            <a:t> </a:t>
          </a:r>
          <a:r>
            <a:rPr lang="en-US" sz="1400" kern="1200" err="1"/>
            <a:t>worden</a:t>
          </a:r>
          <a:r>
            <a:rPr lang="en-US" sz="1400" kern="1200"/>
            <a:t>.</a:t>
          </a:r>
        </a:p>
      </dsp:txBody>
      <dsp:txXfrm>
        <a:off x="599703" y="2553838"/>
        <a:ext cx="3761903" cy="2257141"/>
      </dsp:txXfrm>
    </dsp:sp>
    <dsp:sp modelId="{C27D2524-3331-4EC2-8245-B1F2BDC07F27}">
      <dsp:nvSpPr>
        <dsp:cNvPr id="0" name=""/>
        <dsp:cNvSpPr/>
      </dsp:nvSpPr>
      <dsp:spPr>
        <a:xfrm>
          <a:off x="4725420" y="2634463"/>
          <a:ext cx="3761903" cy="225714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l-NL" sz="1400" kern="1200"/>
            <a:t>Resultaten afgelopen jaar:</a:t>
          </a:r>
        </a:p>
        <a:p>
          <a:pPr marL="0" lvl="0" indent="0" algn="ctr" defTabSz="622300">
            <a:lnSpc>
              <a:spcPct val="90000"/>
            </a:lnSpc>
            <a:spcBef>
              <a:spcPct val="0"/>
            </a:spcBef>
            <a:spcAft>
              <a:spcPct val="35000"/>
            </a:spcAft>
            <a:buNone/>
          </a:pPr>
          <a:r>
            <a:rPr lang="nl-NL" sz="1400" kern="1200"/>
            <a:t>- Project </a:t>
          </a:r>
          <a:r>
            <a:rPr lang="nl-NL" sz="1400" kern="1200" err="1"/>
            <a:t>pzp</a:t>
          </a:r>
          <a:endParaRPr lang="nl-NL" sz="1400" kern="1200"/>
        </a:p>
        <a:p>
          <a:pPr marL="0" lvl="0" indent="0" algn="ctr" defTabSz="622300">
            <a:lnSpc>
              <a:spcPct val="90000"/>
            </a:lnSpc>
            <a:spcBef>
              <a:spcPct val="0"/>
            </a:spcBef>
            <a:spcAft>
              <a:spcPct val="35000"/>
            </a:spcAft>
            <a:buNone/>
          </a:pPr>
          <a:r>
            <a:rPr lang="nl-NL" sz="1400" kern="1200"/>
            <a:t>-Palliakit</a:t>
          </a:r>
          <a:endParaRPr lang="en-US" sz="1400" kern="1200"/>
        </a:p>
      </dsp:txBody>
      <dsp:txXfrm>
        <a:off x="4725420" y="2634463"/>
        <a:ext cx="3761903" cy="22571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AC8F6D-ADDF-42C3-B4E6-599DD84EDF9C}">
      <dsp:nvSpPr>
        <dsp:cNvPr id="0" name=""/>
        <dsp:cNvSpPr/>
      </dsp:nvSpPr>
      <dsp:spPr>
        <a:xfrm>
          <a:off x="1397843" y="467"/>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a:t>Belangen wordt niet specifiek besproken. </a:t>
          </a:r>
        </a:p>
      </dsp:txBody>
      <dsp:txXfrm>
        <a:off x="1397843" y="467"/>
        <a:ext cx="3508877" cy="2105326"/>
      </dsp:txXfrm>
    </dsp:sp>
    <dsp:sp modelId="{1A92F250-F5B6-4894-8EAB-E7D6DFF6E172}">
      <dsp:nvSpPr>
        <dsp:cNvPr id="0" name=""/>
        <dsp:cNvSpPr/>
      </dsp:nvSpPr>
      <dsp:spPr>
        <a:xfrm>
          <a:off x="5257608" y="467"/>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a:t>Jaarlijks wordt een ronde langs organisaties gemaakt.</a:t>
          </a:r>
        </a:p>
      </dsp:txBody>
      <dsp:txXfrm>
        <a:off x="5257608" y="467"/>
        <a:ext cx="3508877" cy="2105326"/>
      </dsp:txXfrm>
    </dsp:sp>
    <dsp:sp modelId="{B8FCF5A3-EF59-434A-BB6D-05DAA578F2D4}">
      <dsp:nvSpPr>
        <dsp:cNvPr id="0" name=""/>
        <dsp:cNvSpPr/>
      </dsp:nvSpPr>
      <dsp:spPr>
        <a:xfrm>
          <a:off x="1397843" y="2456681"/>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a:t>Zorgverleners (64%) en bestuurders (86%) vinden dat deelnemers hun verantwoordelijkheid nemen. </a:t>
          </a:r>
        </a:p>
      </dsp:txBody>
      <dsp:txXfrm>
        <a:off x="1397843" y="2456681"/>
        <a:ext cx="3508877" cy="2105326"/>
      </dsp:txXfrm>
    </dsp:sp>
    <dsp:sp modelId="{4C07D75F-A06B-47F2-BED3-29553591CDC4}">
      <dsp:nvSpPr>
        <dsp:cNvPr id="0" name=""/>
        <dsp:cNvSpPr/>
      </dsp:nvSpPr>
      <dsp:spPr>
        <a:xfrm>
          <a:off x="5257608" y="2456681"/>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nl-NL" sz="1600" kern="1200"/>
            <a:t>Er </a:t>
          </a:r>
          <a:r>
            <a:rPr lang="nl-NL" sz="1600" kern="1200">
              <a:solidFill>
                <a:schemeClr val="bg1"/>
              </a:solidFill>
            </a:rPr>
            <a:t>komt naar voren dat </a:t>
          </a:r>
          <a:r>
            <a:rPr lang="nl-NL" sz="1600" strike="sngStrike" kern="1200">
              <a:solidFill>
                <a:schemeClr val="bg1"/>
              </a:solidFill>
            </a:rPr>
            <a:t>hier </a:t>
          </a:r>
          <a:r>
            <a:rPr lang="nl-NL" sz="1600" kern="1200">
              <a:solidFill>
                <a:schemeClr val="bg1"/>
              </a:solidFill>
            </a:rPr>
            <a:t>behoefte</a:t>
          </a:r>
          <a:r>
            <a:rPr lang="nl-NL" sz="1600" kern="1200">
              <a:solidFill>
                <a:schemeClr val="bg1"/>
              </a:solidFill>
              <a:latin typeface="Poppins"/>
            </a:rPr>
            <a:t> </a:t>
          </a:r>
          <a:r>
            <a:rPr lang="nl-NL" sz="1600" kern="1200">
              <a:solidFill>
                <a:schemeClr val="bg1"/>
              </a:solidFill>
            </a:rPr>
            <a:t>is </a:t>
          </a:r>
          <a:r>
            <a:rPr lang="nl-NL" sz="1600" kern="1200">
              <a:solidFill>
                <a:schemeClr val="bg1"/>
              </a:solidFill>
              <a:latin typeface="Poppins"/>
            </a:rPr>
            <a:t>aan bespreken belangen </a:t>
          </a:r>
          <a:r>
            <a:rPr lang="nl-NL" sz="1600" kern="1200">
              <a:solidFill>
                <a:schemeClr val="bg1"/>
              </a:solidFill>
            </a:rPr>
            <a:t>(transparantie</a:t>
          </a:r>
          <a:r>
            <a:rPr lang="nl-NL" sz="1600" kern="1200"/>
            <a:t>, verdeling van geld, gevoel van concurrentie en organisatiebelang boven belang patiënt).</a:t>
          </a:r>
        </a:p>
      </dsp:txBody>
      <dsp:txXfrm>
        <a:off x="5257608" y="2456681"/>
        <a:ext cx="3508877" cy="210532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AC8F6D-ADDF-42C3-B4E6-599DD84EDF9C}">
      <dsp:nvSpPr>
        <dsp:cNvPr id="0" name=""/>
        <dsp:cNvSpPr/>
      </dsp:nvSpPr>
      <dsp:spPr>
        <a:xfrm>
          <a:off x="1397843" y="467"/>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kern="1200"/>
            <a:t>Het gedeeld eigenaarschap van het netwerk wordt niet altijd als gezamenlijk ervaren. </a:t>
          </a:r>
        </a:p>
      </dsp:txBody>
      <dsp:txXfrm>
        <a:off x="1397843" y="467"/>
        <a:ext cx="3508877" cy="2105326"/>
      </dsp:txXfrm>
    </dsp:sp>
    <dsp:sp modelId="{1A92F250-F5B6-4894-8EAB-E7D6DFF6E172}">
      <dsp:nvSpPr>
        <dsp:cNvPr id="0" name=""/>
        <dsp:cNvSpPr/>
      </dsp:nvSpPr>
      <dsp:spPr>
        <a:xfrm>
          <a:off x="5257608" y="467"/>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kern="1200"/>
            <a:t>Voor de netwerkcoördinatoren is het veel werk om de leden te motiveren. </a:t>
          </a:r>
        </a:p>
      </dsp:txBody>
      <dsp:txXfrm>
        <a:off x="5257608" y="467"/>
        <a:ext cx="3508877" cy="2105326"/>
      </dsp:txXfrm>
    </dsp:sp>
    <dsp:sp modelId="{B8FCF5A3-EF59-434A-BB6D-05DAA578F2D4}">
      <dsp:nvSpPr>
        <dsp:cNvPr id="0" name=""/>
        <dsp:cNvSpPr/>
      </dsp:nvSpPr>
      <dsp:spPr>
        <a:xfrm>
          <a:off x="1397843" y="2456681"/>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kern="1200"/>
            <a:t>Samenwerking met andere netwerken vindt incidenteel en op basis van thema plaats. Partijen die gemist worden zijn onderwijs, apothekers, paramedici en mantelzorgers.</a:t>
          </a:r>
        </a:p>
      </dsp:txBody>
      <dsp:txXfrm>
        <a:off x="1397843" y="2456681"/>
        <a:ext cx="3508877" cy="2105326"/>
      </dsp:txXfrm>
    </dsp:sp>
    <dsp:sp modelId="{4C07D75F-A06B-47F2-BED3-29553591CDC4}">
      <dsp:nvSpPr>
        <dsp:cNvPr id="0" name=""/>
        <dsp:cNvSpPr/>
      </dsp:nvSpPr>
      <dsp:spPr>
        <a:xfrm>
          <a:off x="5257608" y="2456681"/>
          <a:ext cx="3508877" cy="210532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kern="1200"/>
            <a:t>Hoge score op vertrouwen binnen het netwerk door zorgverleners.</a:t>
          </a:r>
        </a:p>
      </dsp:txBody>
      <dsp:txXfrm>
        <a:off x="5257608" y="2456681"/>
        <a:ext cx="3508877" cy="210532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836BA3-33DB-4FA1-9D9C-BF49EB242865}">
      <dsp:nvSpPr>
        <dsp:cNvPr id="0" name=""/>
        <dsp:cNvSpPr/>
      </dsp:nvSpPr>
      <dsp:spPr>
        <a:xfrm>
          <a:off x="1718036" y="1509"/>
          <a:ext cx="3507274" cy="21043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De meerwaarde van het netwerk wordt door zorgverleners ervaren op zowel persoonlijk als organisatieniveau.</a:t>
          </a:r>
        </a:p>
      </dsp:txBody>
      <dsp:txXfrm>
        <a:off x="1718036" y="1509"/>
        <a:ext cx="3507274" cy="2104364"/>
      </dsp:txXfrm>
    </dsp:sp>
    <dsp:sp modelId="{7CBED09A-56DA-4408-A7B5-4C3D5509A2CB}">
      <dsp:nvSpPr>
        <dsp:cNvPr id="0" name=""/>
        <dsp:cNvSpPr/>
      </dsp:nvSpPr>
      <dsp:spPr>
        <a:xfrm>
          <a:off x="5576038" y="1509"/>
          <a:ext cx="3507274" cy="21043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Zowel bij zorgverleners (70%) als bij bestuurders (57%) komt naar voren dat niet altijd duidelijk is wie aan welk doel of thema werkt.</a:t>
          </a:r>
        </a:p>
      </dsp:txBody>
      <dsp:txXfrm>
        <a:off x="5576038" y="1509"/>
        <a:ext cx="3507274" cy="2104364"/>
      </dsp:txXfrm>
    </dsp:sp>
    <dsp:sp modelId="{41F0199D-7DDB-4C83-B118-7D201C24C589}">
      <dsp:nvSpPr>
        <dsp:cNvPr id="0" name=""/>
        <dsp:cNvSpPr/>
      </dsp:nvSpPr>
      <dsp:spPr>
        <a:xfrm>
          <a:off x="1718036" y="2456601"/>
          <a:ext cx="3507274" cy="21043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Tevreden over de netwerkcoördinator. Duo is mooie aanvulling op elkaar.</a:t>
          </a:r>
        </a:p>
      </dsp:txBody>
      <dsp:txXfrm>
        <a:off x="1718036" y="2456601"/>
        <a:ext cx="3507274" cy="2104364"/>
      </dsp:txXfrm>
    </dsp:sp>
    <dsp:sp modelId="{5C97AD40-299E-432C-922B-FCB12FEF1330}">
      <dsp:nvSpPr>
        <dsp:cNvPr id="0" name=""/>
        <dsp:cNvSpPr/>
      </dsp:nvSpPr>
      <dsp:spPr>
        <a:xfrm>
          <a:off x="5576038" y="2456601"/>
          <a:ext cx="3507274" cy="210436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Monitoren van de voortgang is niet altijd zichtbaar. </a:t>
          </a:r>
        </a:p>
      </dsp:txBody>
      <dsp:txXfrm>
        <a:off x="5576038" y="2456601"/>
        <a:ext cx="3507274" cy="210436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427D8C-4559-4A06-9E01-AA9864A006C9}">
      <dsp:nvSpPr>
        <dsp:cNvPr id="0" name=""/>
        <dsp:cNvSpPr/>
      </dsp:nvSpPr>
      <dsp:spPr>
        <a:xfrm>
          <a:off x="1015416" y="55271"/>
          <a:ext cx="3366412" cy="210532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Er zijn twijfels bij de 3 doelgroepen over het nakomen van afspraken van het convenant door de deelnemende organisaties. </a:t>
          </a:r>
          <a:endParaRPr lang="en-US" sz="1900" kern="1200"/>
        </a:p>
      </dsp:txBody>
      <dsp:txXfrm>
        <a:off x="1015416" y="55271"/>
        <a:ext cx="3366412" cy="2105323"/>
      </dsp:txXfrm>
    </dsp:sp>
    <dsp:sp modelId="{327A1ED2-AF84-409C-995B-F419E010A736}">
      <dsp:nvSpPr>
        <dsp:cNvPr id="0" name=""/>
        <dsp:cNvSpPr/>
      </dsp:nvSpPr>
      <dsp:spPr>
        <a:xfrm>
          <a:off x="5825520" y="55271"/>
          <a:ext cx="3508873" cy="210532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De </a:t>
          </a:r>
          <a:r>
            <a:rPr lang="en-US" sz="1900" kern="1200" err="1"/>
            <a:t>meerderheid</a:t>
          </a:r>
          <a:r>
            <a:rPr lang="en-US" sz="1900" kern="1200"/>
            <a:t> </a:t>
          </a:r>
          <a:r>
            <a:rPr lang="en-US" sz="1900" kern="1200" err="1"/>
            <a:t>vindt</a:t>
          </a:r>
          <a:r>
            <a:rPr lang="en-US" sz="1900" kern="1200"/>
            <a:t> </a:t>
          </a:r>
          <a:r>
            <a:rPr lang="en-US" sz="1900" kern="1200" err="1"/>
            <a:t>dat</a:t>
          </a:r>
          <a:r>
            <a:rPr lang="en-US" sz="1900" kern="1200"/>
            <a:t> de </a:t>
          </a:r>
          <a:r>
            <a:rPr lang="en-US" sz="1900" kern="1200" err="1"/>
            <a:t>wijze</a:t>
          </a:r>
          <a:r>
            <a:rPr lang="en-US" sz="1900" kern="1200"/>
            <a:t> van </a:t>
          </a:r>
          <a:r>
            <a:rPr lang="en-US" sz="1900" kern="1200" err="1"/>
            <a:t>organiseren</a:t>
          </a:r>
          <a:r>
            <a:rPr lang="en-US" sz="1900" kern="1200"/>
            <a:t> de </a:t>
          </a:r>
          <a:r>
            <a:rPr lang="en-US" sz="1900" kern="1200" err="1"/>
            <a:t>doelrealisatie</a:t>
          </a:r>
          <a:r>
            <a:rPr lang="en-US" sz="1900" kern="1200"/>
            <a:t> in de </a:t>
          </a:r>
          <a:r>
            <a:rPr lang="en-US" sz="1900" kern="1200" err="1"/>
            <a:t>weg</a:t>
          </a:r>
          <a:r>
            <a:rPr lang="en-US" sz="1900" kern="1200"/>
            <a:t> </a:t>
          </a:r>
          <a:r>
            <a:rPr lang="en-US" sz="1900" kern="1200" err="1"/>
            <a:t>staat</a:t>
          </a:r>
          <a:r>
            <a:rPr lang="en-US" sz="1900" kern="1200"/>
            <a:t>.</a:t>
          </a:r>
        </a:p>
      </dsp:txBody>
      <dsp:txXfrm>
        <a:off x="5825520" y="55271"/>
        <a:ext cx="3508873" cy="2105323"/>
      </dsp:txXfrm>
    </dsp:sp>
    <dsp:sp modelId="{F0B1C9CC-35D7-42E4-A554-F18E9A75B807}">
      <dsp:nvSpPr>
        <dsp:cNvPr id="0" name=""/>
        <dsp:cNvSpPr/>
      </dsp:nvSpPr>
      <dsp:spPr>
        <a:xfrm>
          <a:off x="3345097" y="2370952"/>
          <a:ext cx="3508873" cy="210532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a:t>De overleggen van het netwerk worden goed gewaardeerd.</a:t>
          </a:r>
          <a:endParaRPr lang="en-US" sz="1900" kern="1200"/>
        </a:p>
      </dsp:txBody>
      <dsp:txXfrm>
        <a:off x="3345097" y="2370952"/>
        <a:ext cx="3508873" cy="210532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426DF5-71BB-4214-A4B9-B29B472CFAA4}">
      <dsp:nvSpPr>
        <dsp:cNvPr id="0" name=""/>
        <dsp:cNvSpPr/>
      </dsp:nvSpPr>
      <dsp:spPr>
        <a:xfrm>
          <a:off x="1369340" y="318"/>
          <a:ext cx="3509105" cy="2105463"/>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b="0" i="0" kern="1200"/>
            <a:t>Regionale leidraad </a:t>
          </a:r>
          <a:r>
            <a:rPr lang="nl-NL" sz="1600" b="0" i="0" kern="1200" err="1"/>
            <a:t>pzp</a:t>
          </a:r>
          <a:r>
            <a:rPr lang="nl-NL" sz="1600" b="0" i="0" kern="1200"/>
            <a:t> speelt een grote rol. Afspraken zijn goed geïmplementeerd. Bestuurders geven aan deze leidraad ook opgenomen te hebben in het beleid van de eigen organisatie.</a:t>
          </a:r>
          <a:endParaRPr lang="en-US" sz="1600" b="0" kern="1200"/>
        </a:p>
      </dsp:txBody>
      <dsp:txXfrm>
        <a:off x="1369340" y="318"/>
        <a:ext cx="3509105" cy="2105463"/>
      </dsp:txXfrm>
    </dsp:sp>
    <dsp:sp modelId="{AFD7CE4D-32A1-4C14-AA58-AFDE9DFBEF10}">
      <dsp:nvSpPr>
        <dsp:cNvPr id="0" name=""/>
        <dsp:cNvSpPr/>
      </dsp:nvSpPr>
      <dsp:spPr>
        <a:xfrm>
          <a:off x="5229356" y="318"/>
          <a:ext cx="3509105" cy="2105463"/>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b="0" kern="1200"/>
            <a:t>Maatschappelijke bewustwording en deskundigheidsbevordering goed op orde.</a:t>
          </a:r>
          <a:endParaRPr lang="en-US" sz="1600" b="0" kern="1200"/>
        </a:p>
      </dsp:txBody>
      <dsp:txXfrm>
        <a:off x="5229356" y="318"/>
        <a:ext cx="3509105" cy="2105463"/>
      </dsp:txXfrm>
    </dsp:sp>
    <dsp:sp modelId="{E08879A6-0B05-463A-9A67-6DFF2CC83159}">
      <dsp:nvSpPr>
        <dsp:cNvPr id="0" name=""/>
        <dsp:cNvSpPr/>
      </dsp:nvSpPr>
      <dsp:spPr>
        <a:xfrm>
          <a:off x="5235357" y="2326743"/>
          <a:ext cx="3509105" cy="2105463"/>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a:t>Delen van gegevens tussen organisaties is nog in ontwikkeling.</a:t>
          </a:r>
        </a:p>
      </dsp:txBody>
      <dsp:txXfrm>
        <a:off x="5235357" y="2326743"/>
        <a:ext cx="3509105" cy="2105463"/>
      </dsp:txXfrm>
    </dsp:sp>
    <dsp:sp modelId="{907E8BE0-C489-4B33-ADBE-8DDBEDC29B8A}">
      <dsp:nvSpPr>
        <dsp:cNvPr id="0" name=""/>
        <dsp:cNvSpPr/>
      </dsp:nvSpPr>
      <dsp:spPr>
        <a:xfrm>
          <a:off x="1377095" y="2339923"/>
          <a:ext cx="3509105" cy="2105463"/>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b="0" i="0" kern="1200"/>
            <a:t>Afspraken over coördinatie en continuïteit zijn volgens 43% van de bestuurders nog niet goed vormgegeven.</a:t>
          </a:r>
          <a:endParaRPr lang="en-US" sz="1600" b="0" kern="1200"/>
        </a:p>
      </dsp:txBody>
      <dsp:txXfrm>
        <a:off x="1377095" y="2339923"/>
        <a:ext cx="3509105" cy="210546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0F265-C8C2-4B11-A93D-A63B657824A0}">
      <dsp:nvSpPr>
        <dsp:cNvPr id="0" name=""/>
        <dsp:cNvSpPr/>
      </dsp:nvSpPr>
      <dsp:spPr>
        <a:xfrm>
          <a:off x="0" y="18083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a:t>Rondom de ambitie van het netwerk staat al veel, maar kan het concreter en zichtbaarder.  </a:t>
          </a:r>
          <a:endParaRPr lang="en-US" sz="1200" kern="1200"/>
        </a:p>
      </dsp:txBody>
      <dsp:txXfrm>
        <a:off x="31870" y="212703"/>
        <a:ext cx="9794682" cy="589119"/>
      </dsp:txXfrm>
    </dsp:sp>
    <dsp:sp modelId="{078ECCA1-69E2-4E13-A52D-E290E7B136A5}">
      <dsp:nvSpPr>
        <dsp:cNvPr id="0" name=""/>
        <dsp:cNvSpPr/>
      </dsp:nvSpPr>
      <dsp:spPr>
        <a:xfrm>
          <a:off x="0" y="86825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a:t>Belangen worden nog niet altijd besproken. Er is wel behoefte aan.</a:t>
          </a:r>
        </a:p>
      </dsp:txBody>
      <dsp:txXfrm>
        <a:off x="31870" y="900123"/>
        <a:ext cx="9794682" cy="589119"/>
      </dsp:txXfrm>
    </dsp:sp>
    <dsp:sp modelId="{AD077BF4-98E7-4258-A81D-9A26D486A7DF}">
      <dsp:nvSpPr>
        <dsp:cNvPr id="0" name=""/>
        <dsp:cNvSpPr/>
      </dsp:nvSpPr>
      <dsp:spPr>
        <a:xfrm>
          <a:off x="0" y="155567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a:t>Mooi cijfer voor samenwerking!</a:t>
          </a:r>
        </a:p>
      </dsp:txBody>
      <dsp:txXfrm>
        <a:off x="31870" y="1587543"/>
        <a:ext cx="9794682" cy="589119"/>
      </dsp:txXfrm>
    </dsp:sp>
    <dsp:sp modelId="{5D8FD7EA-E7CD-4A13-BAA4-D26DBEB75756}">
      <dsp:nvSpPr>
        <dsp:cNvPr id="0" name=""/>
        <dsp:cNvSpPr/>
      </dsp:nvSpPr>
      <dsp:spPr>
        <a:xfrm>
          <a:off x="0" y="224309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a:t>Ook behoefte om deze samenwerking te versterken.</a:t>
          </a:r>
        </a:p>
      </dsp:txBody>
      <dsp:txXfrm>
        <a:off x="31870" y="2274963"/>
        <a:ext cx="9794682" cy="589119"/>
      </dsp:txXfrm>
    </dsp:sp>
    <dsp:sp modelId="{15A121D6-D0DB-4AE2-A0FE-85B8C964196B}">
      <dsp:nvSpPr>
        <dsp:cNvPr id="0" name=""/>
        <dsp:cNvSpPr/>
      </dsp:nvSpPr>
      <dsp:spPr>
        <a:xfrm>
          <a:off x="0" y="293051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dirty="0"/>
            <a:t>Soms onduidelijk wie aan welk thema/ resultaat werkt. Dat kan het gevoel oproepen van niet transparant zijn.</a:t>
          </a:r>
          <a:endParaRPr lang="nl-NL" sz="1200" kern="1200" dirty="0">
            <a:solidFill>
              <a:srgbClr val="FF0000"/>
            </a:solidFill>
          </a:endParaRPr>
        </a:p>
        <a:p>
          <a:pPr marL="0" lvl="0" indent="0" algn="l" defTabSz="533400">
            <a:lnSpc>
              <a:spcPct val="90000"/>
            </a:lnSpc>
            <a:spcBef>
              <a:spcPct val="0"/>
            </a:spcBef>
            <a:spcAft>
              <a:spcPct val="35000"/>
            </a:spcAft>
            <a:buNone/>
          </a:pPr>
          <a:endParaRPr lang="nl-NL" sz="1200" kern="1200" dirty="0"/>
        </a:p>
      </dsp:txBody>
      <dsp:txXfrm>
        <a:off x="31870" y="2962383"/>
        <a:ext cx="9794682" cy="589119"/>
      </dsp:txXfrm>
    </dsp:sp>
    <dsp:sp modelId="{14EC461D-7291-4DAB-861C-4517664508B2}">
      <dsp:nvSpPr>
        <dsp:cNvPr id="0" name=""/>
        <dsp:cNvSpPr/>
      </dsp:nvSpPr>
      <dsp:spPr>
        <a:xfrm>
          <a:off x="0" y="361793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dirty="0"/>
            <a:t>De overleggen worden goed gewaardeerd. De manier waarop het netwerk georganiseerd is, kan beter.</a:t>
          </a:r>
        </a:p>
      </dsp:txBody>
      <dsp:txXfrm>
        <a:off x="31870" y="3649803"/>
        <a:ext cx="9794682" cy="589119"/>
      </dsp:txXfrm>
    </dsp:sp>
    <dsp:sp modelId="{CD07C734-2F6D-4AAB-A529-6762DB9A2E3D}">
      <dsp:nvSpPr>
        <dsp:cNvPr id="0" name=""/>
        <dsp:cNvSpPr/>
      </dsp:nvSpPr>
      <dsp:spPr>
        <a:xfrm>
          <a:off x="0" y="4305353"/>
          <a:ext cx="9858422" cy="65285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nl-NL" sz="1200" kern="1200"/>
            <a:t>Maatschappelijke bewustwording en deskundigheid goed op orde. </a:t>
          </a:r>
        </a:p>
      </dsp:txBody>
      <dsp:txXfrm>
        <a:off x="31870" y="4337223"/>
        <a:ext cx="9794682" cy="589119"/>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16-6-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4F3E07-62C9-9ABE-6424-98032C505F7C}"/>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2BA9EC8-05CD-612F-7E1C-56E14D684AF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F706EF2-FC64-D0EB-F8B6-A0FEE55A2FED}"/>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166D7E3-59AC-7F22-3F11-AF693CB58170}"/>
              </a:ext>
            </a:extLst>
          </p:cNvPr>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606300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E807C-CBF0-60B3-4C1F-4442D3AC31C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25E3F1F-7C99-F1A6-5F58-FE2388E0C2D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2CCB2B7-A4CE-5D5F-6E5E-F85B6A4334CB}"/>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6F890E99-A9C8-6F41-1A73-4B2D3B4B9892}"/>
              </a:ext>
            </a:extLst>
          </p:cNvPr>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3020932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4B83F-43F0-6532-C5D1-E6510CB3703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6CC5042F-9EC4-CB5C-E295-D547009B969F}"/>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E7B6FF7-A84A-B947-C71F-CFDD6B002B06}"/>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2EB69209-19F3-5193-DDC2-370C6A8D6BBC}"/>
              </a:ext>
            </a:extLst>
          </p:cNvPr>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3120229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669CB-513B-B59A-4F0D-FEB009ED44F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4EE8F20-4C1A-4A9D-AC45-09C35284AF01}"/>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57FAED65-A4FA-BBB8-81FD-354B6B378726}"/>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359CB2C5-D32E-61ED-FD76-30A1E5AC655B}"/>
              </a:ext>
            </a:extLst>
          </p:cNvPr>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36914299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4BE8CD-657F-FF99-414D-1AA63BC4565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3B164B8-94ED-557A-1985-50B0D6EE3DA5}"/>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BBE23F0-8E5B-95BD-B8CD-7BEA892BA63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7EB59EE3-23EC-22E3-3178-0EBCBD6A0218}"/>
              </a:ext>
            </a:extLst>
          </p:cNvPr>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21812387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29151-05C1-0A4A-0D0E-8516D4EB803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BB95720-2927-F6DB-3798-16E07161B25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DBD8DC1-2560-7202-93F9-D54BAB4D1452}"/>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8E6B77F-2B0F-D834-9978-5D2E9BA54107}"/>
              </a:ext>
            </a:extLst>
          </p:cNvPr>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3758205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368DBF-FF15-BAC2-125B-493FB6BDCFA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2CBD468-F202-5EFB-778D-975EC18201BD}"/>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27E39C7-F222-8E0F-517A-F012662BD1B0}"/>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EBE95772-AB4F-55CA-CC7A-4F1FAA60698D}"/>
              </a:ext>
            </a:extLst>
          </p:cNvPr>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2716655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46391-3C89-2258-C7A9-E5F5A650DCA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58F2352-E09E-5959-DEA5-710476E541B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07F2EAD-BF73-E550-630F-013AA99ED791}"/>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9D7B4BDA-D91C-6ADC-4713-7CCF03832171}"/>
              </a:ext>
            </a:extLst>
          </p:cNvPr>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41529261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5151B6-9F1C-6552-53A9-B9599F0FFF3F}"/>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3BEDBFCB-F47D-5942-89A7-20F2B030D9A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EC2623CF-C5EE-93C0-B76C-75975095FAC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88C6552B-F028-74C0-9E46-CB66194DA716}"/>
              </a:ext>
            </a:extLst>
          </p:cNvPr>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20527683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355E3-6C27-72F2-25D4-6B62E16752F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4A249CF-6BE7-0F60-5C8B-DBA8A4CAFD0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A457D90-3DAB-2E54-FD2A-25E7AF8360C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19A8B0BE-ED74-2A23-8318-E445D81095D6}"/>
              </a:ext>
            </a:extLst>
          </p:cNvPr>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2193275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80D273-E938-053B-0D0C-24F4EB46D69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68FE5CF-DC70-885B-CDCF-875C98428EB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3ECE375-8EE8-09FD-730F-43BD229A525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5C0A1C7-667A-4BD6-962B-0EF3E20BE087}"/>
              </a:ext>
            </a:extLst>
          </p:cNvPr>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1577353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BA55E4-8AF9-B44C-ACF7-8A717A915A1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080F3249-8829-5E3E-BFB7-D1094DFDEE0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EE89A47-9191-6DF3-FDEE-14E2F027E665}"/>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7A9F76BB-F1A9-91AB-5B75-8CACB0687552}"/>
              </a:ext>
            </a:extLst>
          </p:cNvPr>
          <p:cNvSpPr>
            <a:spLocks noGrp="1"/>
          </p:cNvSpPr>
          <p:nvPr>
            <p:ph type="sldNum" sz="quarter" idx="5"/>
          </p:nvPr>
        </p:nvSpPr>
        <p:spPr/>
        <p:txBody>
          <a:bodyPr/>
          <a:lstStyle/>
          <a:p>
            <a:fld id="{1B242FB6-E88F-410B-9A56-42BB89A2A2CE}" type="slidenum">
              <a:rPr lang="nl-NL" smtClean="0"/>
              <a:t>22</a:t>
            </a:fld>
            <a:endParaRPr lang="nl-NL"/>
          </a:p>
        </p:txBody>
      </p:sp>
    </p:spTree>
    <p:extLst>
      <p:ext uri="{BB962C8B-B14F-4D97-AF65-F5344CB8AC3E}">
        <p14:creationId xmlns:p14="http://schemas.microsoft.com/office/powerpoint/2010/main" val="10125736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FC2444-0E0A-2E5B-9DCD-4D96CE95645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6B3854B-BE9C-79C3-BF24-35F7CA760309}"/>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85B4ABF-A5B9-C8F0-6831-D3DC0F3FB5BA}"/>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0A71B85-CEA6-595D-26AD-D1C3EAE579D1}"/>
              </a:ext>
            </a:extLst>
          </p:cNvPr>
          <p:cNvSpPr>
            <a:spLocks noGrp="1"/>
          </p:cNvSpPr>
          <p:nvPr>
            <p:ph type="sldNum" sz="quarter" idx="5"/>
          </p:nvPr>
        </p:nvSpPr>
        <p:spPr/>
        <p:txBody>
          <a:bodyPr/>
          <a:lstStyle/>
          <a:p>
            <a:fld id="{1B242FB6-E88F-410B-9A56-42BB89A2A2CE}" type="slidenum">
              <a:rPr lang="nl-NL" smtClean="0"/>
              <a:t>23</a:t>
            </a:fld>
            <a:endParaRPr lang="nl-NL"/>
          </a:p>
        </p:txBody>
      </p:sp>
    </p:spTree>
    <p:extLst>
      <p:ext uri="{BB962C8B-B14F-4D97-AF65-F5344CB8AC3E}">
        <p14:creationId xmlns:p14="http://schemas.microsoft.com/office/powerpoint/2010/main" val="32185633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FA27D-81E7-47A9-F75C-695916FB207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E783CF0-4807-1006-273D-24F8AFB51411}"/>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31B58A47-0B31-1410-6927-F46A990744C1}"/>
              </a:ext>
            </a:extLst>
          </p:cNvPr>
          <p:cNvSpPr>
            <a:spLocks noGrp="1"/>
          </p:cNvSpPr>
          <p:nvPr>
            <p:ph type="body" idx="1"/>
          </p:nvPr>
        </p:nvSpPr>
        <p:spPr/>
        <p:txBody>
          <a:bodyPr/>
          <a:lstStyle/>
          <a:p>
            <a:r>
              <a:rPr lang="nl-NL"/>
              <a:t>Na teruggeven beeld plenaire discussie:</a:t>
            </a:r>
          </a:p>
          <a:p>
            <a:r>
              <a:rPr lang="nl-NL"/>
              <a:t>- Wat kunnen we doen om onze resultaten beter te delen en vieren, zowel binnen als buiten het netwerk?</a:t>
            </a:r>
          </a:p>
          <a:p>
            <a:endParaRPr lang="nl-NL"/>
          </a:p>
          <a:p>
            <a:r>
              <a:rPr lang="nl-NL"/>
              <a:t>Daarna in groepen uit elkaar:</a:t>
            </a:r>
          </a:p>
          <a:p>
            <a:pPr marL="171450" indent="-171450">
              <a:buFontTx/>
              <a:buChar char="-"/>
            </a:pPr>
            <a:r>
              <a:rPr lang="nl-NL"/>
              <a:t>Welke concrete resultaten willen we voor eind 2026 als netwerk behalen?</a:t>
            </a:r>
          </a:p>
          <a:p>
            <a:pPr marL="171450" indent="-171450">
              <a:buFontTx/>
              <a:buChar char="-"/>
            </a:pPr>
            <a:endParaRPr lang="nl-NL"/>
          </a:p>
          <a:p>
            <a:pPr marL="171450" indent="-171450">
              <a:buFont typeface="Wingdings" panose="05000000000000000000" pitchFamily="2" charset="2"/>
              <a:buChar char="Ø"/>
            </a:pPr>
            <a:r>
              <a:rPr lang="nl-NL"/>
              <a:t>Uitwerken op flappen</a:t>
            </a:r>
          </a:p>
          <a:p>
            <a:pPr marL="171450" indent="-171450">
              <a:buFont typeface="Wingdings" panose="05000000000000000000" pitchFamily="2" charset="2"/>
              <a:buChar char="Ø"/>
            </a:pPr>
            <a:r>
              <a:rPr lang="nl-NL"/>
              <a:t>Anja en Linda verdelen</a:t>
            </a:r>
          </a:p>
          <a:p>
            <a:pPr marL="171450" indent="-171450">
              <a:buFont typeface="Wingdings" panose="05000000000000000000" pitchFamily="2" charset="2"/>
              <a:buChar char="Ø"/>
            </a:pPr>
            <a:r>
              <a:rPr lang="nl-NL"/>
              <a:t>Geeltjes met eerst zelf opschrijven welke resultaten</a:t>
            </a:r>
          </a:p>
          <a:p>
            <a:pPr marL="171450" indent="-171450">
              <a:buFont typeface="Wingdings" panose="05000000000000000000" pitchFamily="2" charset="2"/>
              <a:buChar char="Ø"/>
            </a:pPr>
            <a:r>
              <a:rPr lang="nl-NL"/>
              <a:t>Daarna delen met buurvrouw</a:t>
            </a:r>
          </a:p>
          <a:p>
            <a:pPr marL="171450" indent="-171450">
              <a:buFont typeface="Wingdings" panose="05000000000000000000" pitchFamily="2" charset="2"/>
              <a:buChar char="Ø"/>
            </a:pPr>
            <a:r>
              <a:rPr lang="nl-NL"/>
              <a:t>Daarna in groep bespreken</a:t>
            </a:r>
          </a:p>
          <a:p>
            <a:pPr marL="171450" indent="-171450">
              <a:buFont typeface="Wingdings" panose="05000000000000000000" pitchFamily="2" charset="2"/>
              <a:buChar char="Ø"/>
            </a:pPr>
            <a:r>
              <a:rPr lang="nl-NL"/>
              <a:t>Grote lijnen beide groepen plenair bespreken.</a:t>
            </a:r>
          </a:p>
          <a:p>
            <a:pPr marL="0" indent="0">
              <a:buFont typeface="Wingdings" panose="05000000000000000000" pitchFamily="2" charset="2"/>
              <a:buNone/>
            </a:pPr>
            <a:endParaRPr lang="nl-NL"/>
          </a:p>
          <a:p>
            <a:pPr marL="0" indent="0">
              <a:buFont typeface="Wingdings" panose="05000000000000000000" pitchFamily="2" charset="2"/>
              <a:buNone/>
            </a:pPr>
            <a:r>
              <a:rPr lang="nl-NL"/>
              <a:t>Meenemen in de discussie: als het netwerk wegvalt, wat gaat er dan niet lukken in de regio?</a:t>
            </a:r>
          </a:p>
          <a:p>
            <a:pPr marL="0" indent="0">
              <a:buFont typeface="Wingdings" panose="05000000000000000000" pitchFamily="2" charset="2"/>
              <a:buNone/>
            </a:pPr>
            <a:endParaRPr lang="nl-NL"/>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a:t>Hoe maken we duidelijk wat we van een ieder kunnen verwachten? </a:t>
            </a:r>
            <a:r>
              <a:rPr lang="nl-NL">
                <a:solidFill>
                  <a:srgbClr val="FF0000"/>
                </a:solidFill>
              </a:rPr>
              <a:t>Beantwoording van deze vraag is eigenlijk concretere invulling van de uitkomsten over welke resultaten bereikt willen worden. Dit kan ook meegenomen worden in het plan van aanpak, om daar verdere uitwerking aan te geven met elkaar.</a:t>
            </a:r>
            <a:endParaRPr lang="nl-NL">
              <a:solidFill>
                <a:srgbClr val="FF0000"/>
              </a:solidFill>
              <a:cs typeface="Poppins"/>
            </a:endParaRPr>
          </a:p>
          <a:p>
            <a:pPr marL="0" indent="0">
              <a:buFont typeface="Wingdings" panose="05000000000000000000" pitchFamily="2" charset="2"/>
              <a:buNone/>
            </a:pPr>
            <a:endParaRPr lang="nl-NL"/>
          </a:p>
        </p:txBody>
      </p:sp>
      <p:sp>
        <p:nvSpPr>
          <p:cNvPr id="4" name="Tijdelijke aanduiding voor dianummer 3">
            <a:extLst>
              <a:ext uri="{FF2B5EF4-FFF2-40B4-BE49-F238E27FC236}">
                <a16:creationId xmlns:a16="http://schemas.microsoft.com/office/drawing/2014/main" id="{AE106C75-E498-0BD3-1F7F-625C2BE4EA30}"/>
              </a:ext>
            </a:extLst>
          </p:cNvPr>
          <p:cNvSpPr>
            <a:spLocks noGrp="1"/>
          </p:cNvSpPr>
          <p:nvPr>
            <p:ph type="sldNum" sz="quarter" idx="5"/>
          </p:nvPr>
        </p:nvSpPr>
        <p:spPr/>
        <p:txBody>
          <a:bodyPr/>
          <a:lstStyle/>
          <a:p>
            <a:fld id="{1B242FB6-E88F-410B-9A56-42BB89A2A2CE}" type="slidenum">
              <a:rPr lang="nl-NL" smtClean="0"/>
              <a:t>24</a:t>
            </a:fld>
            <a:endParaRPr lang="nl-NL"/>
          </a:p>
        </p:txBody>
      </p:sp>
    </p:spTree>
    <p:extLst>
      <p:ext uri="{BB962C8B-B14F-4D97-AF65-F5344CB8AC3E}">
        <p14:creationId xmlns:p14="http://schemas.microsoft.com/office/powerpoint/2010/main" val="10912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EAACE3-FDE2-1906-4C2D-2ACB26F15DF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6970E14D-CF0C-E208-80B8-5E37895113DF}"/>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74E1A75-5649-F1F2-D823-6D97CF4718B1}"/>
              </a:ext>
            </a:extLst>
          </p:cNvPr>
          <p:cNvSpPr>
            <a:spLocks noGrp="1"/>
          </p:cNvSpPr>
          <p:nvPr>
            <p:ph type="body" idx="1"/>
          </p:nvPr>
        </p:nvSpPr>
        <p:spPr/>
        <p:txBody>
          <a:bodyPr/>
          <a:lstStyle/>
          <a:p>
            <a:r>
              <a:rPr lang="nl-NL"/>
              <a:t>Na teruggeven beeld plenaire discussie:</a:t>
            </a:r>
          </a:p>
          <a:p>
            <a:r>
              <a:rPr lang="nl-NL"/>
              <a:t>- Wat kunnen we doen om onze resultaten beter te delen en vieren, zowel binnen als buiten het netwerk?</a:t>
            </a:r>
          </a:p>
          <a:p>
            <a:endParaRPr lang="nl-NL"/>
          </a:p>
          <a:p>
            <a:r>
              <a:rPr lang="nl-NL"/>
              <a:t>Daarna in groepen uit elkaar:</a:t>
            </a:r>
          </a:p>
          <a:p>
            <a:pPr marL="171450" indent="-171450">
              <a:buFontTx/>
              <a:buChar char="-"/>
            </a:pPr>
            <a:r>
              <a:rPr lang="nl-NL"/>
              <a:t>Welke concrete resultaten willen we voor eind 2026 als netwerk behalen?</a:t>
            </a:r>
          </a:p>
          <a:p>
            <a:pPr marL="171450" indent="-171450">
              <a:buFontTx/>
              <a:buChar char="-"/>
            </a:pPr>
            <a:endParaRPr lang="nl-NL"/>
          </a:p>
          <a:p>
            <a:pPr marL="171450" indent="-171450">
              <a:buFont typeface="Wingdings" panose="05000000000000000000" pitchFamily="2" charset="2"/>
              <a:buChar char="Ø"/>
            </a:pPr>
            <a:r>
              <a:rPr lang="nl-NL"/>
              <a:t>Uitwerken op flappen</a:t>
            </a:r>
          </a:p>
          <a:p>
            <a:pPr marL="171450" indent="-171450">
              <a:buFont typeface="Wingdings" panose="05000000000000000000" pitchFamily="2" charset="2"/>
              <a:buChar char="Ø"/>
            </a:pPr>
            <a:r>
              <a:rPr lang="nl-NL"/>
              <a:t>Anja en Linda verdelen</a:t>
            </a:r>
          </a:p>
          <a:p>
            <a:pPr marL="171450" indent="-171450">
              <a:buFont typeface="Wingdings" panose="05000000000000000000" pitchFamily="2" charset="2"/>
              <a:buChar char="Ø"/>
            </a:pPr>
            <a:r>
              <a:rPr lang="nl-NL"/>
              <a:t>Geeltjes met eerst zelf opschrijven welke resultaten</a:t>
            </a:r>
          </a:p>
          <a:p>
            <a:pPr marL="171450" indent="-171450">
              <a:buFont typeface="Wingdings" panose="05000000000000000000" pitchFamily="2" charset="2"/>
              <a:buChar char="Ø"/>
            </a:pPr>
            <a:r>
              <a:rPr lang="nl-NL"/>
              <a:t>Daarna delen met buurvrouw</a:t>
            </a:r>
          </a:p>
          <a:p>
            <a:pPr marL="171450" indent="-171450">
              <a:buFont typeface="Wingdings" panose="05000000000000000000" pitchFamily="2" charset="2"/>
              <a:buChar char="Ø"/>
            </a:pPr>
            <a:r>
              <a:rPr lang="nl-NL"/>
              <a:t>Daarna in groep bespreken</a:t>
            </a:r>
          </a:p>
          <a:p>
            <a:pPr marL="171450" indent="-171450">
              <a:buFont typeface="Wingdings" panose="05000000000000000000" pitchFamily="2" charset="2"/>
              <a:buChar char="Ø"/>
            </a:pPr>
            <a:r>
              <a:rPr lang="nl-NL"/>
              <a:t>Grote lijnen beide groepen plenair bespreken.</a:t>
            </a:r>
          </a:p>
          <a:p>
            <a:pPr marL="0" indent="0">
              <a:buFont typeface="Wingdings" panose="05000000000000000000" pitchFamily="2" charset="2"/>
              <a:buNone/>
            </a:pPr>
            <a:endParaRPr lang="nl-NL"/>
          </a:p>
          <a:p>
            <a:pPr marL="0" indent="0">
              <a:buFont typeface="Wingdings" panose="05000000000000000000" pitchFamily="2" charset="2"/>
              <a:buNone/>
            </a:pPr>
            <a:r>
              <a:rPr lang="nl-NL"/>
              <a:t>Meenemen in de discussie: als het netwerk wegvalt, wat gaat er dan niet lukken in de regio?</a:t>
            </a:r>
          </a:p>
          <a:p>
            <a:pPr marL="0" indent="0">
              <a:buFont typeface="Wingdings" panose="05000000000000000000" pitchFamily="2" charset="2"/>
              <a:buNone/>
            </a:pPr>
            <a:endParaRPr lang="nl-NL"/>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a:t>Hoe maken we duidelijk wat we van een ieder kunnen verwachten? </a:t>
            </a:r>
            <a:r>
              <a:rPr lang="nl-NL">
                <a:solidFill>
                  <a:srgbClr val="FF0000"/>
                </a:solidFill>
              </a:rPr>
              <a:t>Beantwoording van deze vraag is eigenlijk concretere invulling van de uitkomsten over welke resultaten bereikt willen worden. Dit kan ook meegenomen worden in het plan van aanpak, om daar verdere uitwerking aan te geven met elkaar.</a:t>
            </a:r>
            <a:endParaRPr lang="nl-NL">
              <a:solidFill>
                <a:srgbClr val="FF0000"/>
              </a:solidFill>
              <a:cs typeface="Poppins"/>
            </a:endParaRPr>
          </a:p>
          <a:p>
            <a:pPr marL="0" indent="0">
              <a:buFont typeface="Wingdings" panose="05000000000000000000" pitchFamily="2" charset="2"/>
              <a:buNone/>
            </a:pPr>
            <a:endParaRPr lang="nl-NL"/>
          </a:p>
        </p:txBody>
      </p:sp>
      <p:sp>
        <p:nvSpPr>
          <p:cNvPr id="4" name="Tijdelijke aanduiding voor dianummer 3">
            <a:extLst>
              <a:ext uri="{FF2B5EF4-FFF2-40B4-BE49-F238E27FC236}">
                <a16:creationId xmlns:a16="http://schemas.microsoft.com/office/drawing/2014/main" id="{C1729BF7-11DD-63A1-E7EE-65CB5410D24A}"/>
              </a:ext>
            </a:extLst>
          </p:cNvPr>
          <p:cNvSpPr>
            <a:spLocks noGrp="1"/>
          </p:cNvSpPr>
          <p:nvPr>
            <p:ph type="sldNum" sz="quarter" idx="5"/>
          </p:nvPr>
        </p:nvSpPr>
        <p:spPr/>
        <p:txBody>
          <a:bodyPr/>
          <a:lstStyle/>
          <a:p>
            <a:fld id="{1B242FB6-E88F-410B-9A56-42BB89A2A2CE}" type="slidenum">
              <a:rPr lang="nl-NL" smtClean="0"/>
              <a:t>25</a:t>
            </a:fld>
            <a:endParaRPr lang="nl-NL"/>
          </a:p>
        </p:txBody>
      </p:sp>
    </p:spTree>
    <p:extLst>
      <p:ext uri="{BB962C8B-B14F-4D97-AF65-F5344CB8AC3E}">
        <p14:creationId xmlns:p14="http://schemas.microsoft.com/office/powerpoint/2010/main" val="3732704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3EE9A1-657A-12C3-5EC9-CEE91E10107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0A678A7-0207-BFA6-594F-A16E109EFA4F}"/>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01CA63D-5413-79EA-AA0A-FBE5CC5D4D56}"/>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57BAFB47-E075-936E-C9FC-5A13DDC1F2DD}"/>
              </a:ext>
            </a:extLst>
          </p:cNvPr>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646003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4BD36D-769C-B749-2B04-903C91A366E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BFC95C7-80EE-AA61-3AE1-591952685FF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AC73329-C81D-EDAC-79D2-05EEA460E60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073144B8-E003-D4CF-5970-3AC75E04ED3C}"/>
              </a:ext>
            </a:extLst>
          </p:cNvPr>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3406529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699122-801D-E21A-60BD-BBE22971EA7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6BBFCE6-73FE-AA75-1CB5-91FEA9EAC3E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942F814-D665-3D7B-1C7A-ACA3865709C1}"/>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B65F6FDB-35F1-2EBB-3B8A-0C62F1BD7807}"/>
              </a:ext>
            </a:extLst>
          </p:cNvPr>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34524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Potentieel niet passende zorg. Wat valt op?</a:t>
            </a:r>
          </a:p>
          <a:p>
            <a:r>
              <a:rPr lang="nl-NL"/>
              <a:t>Ook boven landelijk gemiddelde.</a:t>
            </a:r>
          </a:p>
          <a:p>
            <a:r>
              <a:rPr lang="nl-NL"/>
              <a:t>Sociaal economische status kan van invloed zijn, is een factor waar je geen invloed op hebt. (bijvoorbeeld lastiger om het gesprek mee te voeren…..?)</a:t>
            </a:r>
          </a:p>
          <a:p>
            <a:endParaRPr lang="nl-NL"/>
          </a:p>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3048819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4180251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5816835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22" name="Krul 1" descr="Middel 13@4x.png">
            <a:extLst>
              <a:ext uri="{FF2B5EF4-FFF2-40B4-BE49-F238E27FC236}">
                <a16:creationId xmlns:a16="http://schemas.microsoft.com/office/drawing/2014/main" id="{B532F7BC-F65A-4753-4A72-111A3A25AC02}"/>
              </a:ext>
            </a:extLst>
          </p:cNvPr>
          <p:cNvPicPr>
            <a:picLocks noChangeAspect="1"/>
          </p:cNvPicPr>
          <p:nvPr userDrawn="1"/>
        </p:nvPicPr>
        <p:blipFill>
          <a:blip r:embed="rId4"/>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5" name="Tijdelijke aanduiding voor datum 24">
            <a:extLst>
              <a:ext uri="{FF2B5EF4-FFF2-40B4-BE49-F238E27FC236}">
                <a16:creationId xmlns:a16="http://schemas.microsoft.com/office/drawing/2014/main" id="{62CEDFD6-1293-4EFF-DB05-6974094D033E}"/>
              </a:ext>
            </a:extLst>
          </p:cNvPr>
          <p:cNvSpPr>
            <a:spLocks noGrp="1"/>
          </p:cNvSpPr>
          <p:nvPr>
            <p:ph type="dt" sz="half" idx="10"/>
          </p:nvPr>
        </p:nvSpPr>
        <p:spPr>
          <a:xfrm>
            <a:off x="698742" y="6363524"/>
            <a:ext cx="5397257" cy="123111"/>
          </a:xfrm>
        </p:spPr>
        <p:txBody>
          <a:bodyPr/>
          <a:lstStyle/>
          <a:p>
            <a:fld id="{35E20D55-0A1C-45A7-96F8-7475C7DD6B20}" type="datetime1">
              <a:rPr lang="nl-NL" smtClean="0"/>
              <a:t>16-6-2025</a:t>
            </a:fld>
            <a:endParaRPr lang="nl-NL"/>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ussen Slide">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4B6918A8-BF83-4F5E-8489-5B923CE23F9E}"/>
              </a:ext>
            </a:extLst>
          </p:cNvPr>
          <p:cNvSpPr/>
          <p:nvPr userDrawn="1"/>
        </p:nvSpPr>
        <p:spPr>
          <a:xfrm>
            <a:off x="0" y="0"/>
            <a:ext cx="12192000" cy="6858000"/>
          </a:xfrm>
          <a:prstGeom prst="rect">
            <a:avLst/>
          </a:prstGeom>
          <a:solidFill>
            <a:srgbClr val="F1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12" name="object 4">
            <a:extLst>
              <a:ext uri="{FF2B5EF4-FFF2-40B4-BE49-F238E27FC236}">
                <a16:creationId xmlns:a16="http://schemas.microsoft.com/office/drawing/2014/main" id="{EDC995C1-7FDB-4EB9-AE08-EBD6A71A5DA5}"/>
              </a:ext>
            </a:extLst>
          </p:cNvPr>
          <p:cNvPicPr/>
          <p:nvPr userDrawn="1"/>
        </p:nvPicPr>
        <p:blipFill>
          <a:blip r:embed="rId2" cstate="print"/>
          <a:stretch>
            <a:fillRect/>
          </a:stretch>
        </p:blipFill>
        <p:spPr>
          <a:xfrm>
            <a:off x="3620427" y="5046272"/>
            <a:ext cx="8264545" cy="90736"/>
          </a:xfrm>
          <a:prstGeom prst="rect">
            <a:avLst/>
          </a:prstGeom>
        </p:spPr>
      </p:pic>
      <p:pic>
        <p:nvPicPr>
          <p:cNvPr id="3" name="Afbeelding 2">
            <a:extLst>
              <a:ext uri="{FF2B5EF4-FFF2-40B4-BE49-F238E27FC236}">
                <a16:creationId xmlns:a16="http://schemas.microsoft.com/office/drawing/2014/main" id="{CC6B417B-B5A0-47E6-99CF-DCF33C12DAC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3968" t="10873" b="10873"/>
          <a:stretch/>
        </p:blipFill>
        <p:spPr>
          <a:xfrm>
            <a:off x="0" y="-1"/>
            <a:ext cx="4716675" cy="6858001"/>
          </a:xfrm>
          <a:prstGeom prst="rect">
            <a:avLst/>
          </a:prstGeom>
        </p:spPr>
      </p:pic>
      <p:sp>
        <p:nvSpPr>
          <p:cNvPr id="10" name="Text Placeholder 22">
            <a:extLst>
              <a:ext uri="{FF2B5EF4-FFF2-40B4-BE49-F238E27FC236}">
                <a16:creationId xmlns:a16="http://schemas.microsoft.com/office/drawing/2014/main" id="{B8463D82-32A9-4DDB-8403-F94E921C8B25}"/>
              </a:ext>
            </a:extLst>
          </p:cNvPr>
          <p:cNvSpPr>
            <a:spLocks noGrp="1"/>
          </p:cNvSpPr>
          <p:nvPr>
            <p:ph type="body" sz="quarter" idx="14" hasCustomPrompt="1"/>
          </p:nvPr>
        </p:nvSpPr>
        <p:spPr>
          <a:xfrm>
            <a:off x="5125570" y="3531380"/>
            <a:ext cx="6746805" cy="1392637"/>
          </a:xfrm>
          <a:prstGeom prst="rect">
            <a:avLst/>
          </a:prstGeom>
        </p:spPr>
        <p:txBody>
          <a:bodyPr anchor="b"/>
          <a:lstStyle>
            <a:lvl1pPr>
              <a:defRPr sz="4002" b="1">
                <a:solidFill>
                  <a:schemeClr val="tx1"/>
                </a:solidFill>
              </a:defRPr>
            </a:lvl1pPr>
          </a:lstStyle>
          <a:p>
            <a:pPr lvl="0"/>
            <a:r>
              <a:rPr lang="en-US" err="1"/>
              <a:t>Tussenslide</a:t>
            </a:r>
            <a:r>
              <a:rPr lang="en-US"/>
              <a:t> </a:t>
            </a:r>
            <a:r>
              <a:rPr lang="en-US" err="1"/>
              <a:t>Titel</a:t>
            </a:r>
            <a:endParaRPr lang="en-US"/>
          </a:p>
        </p:txBody>
      </p:sp>
      <p:pic>
        <p:nvPicPr>
          <p:cNvPr id="11" name="object 5">
            <a:extLst>
              <a:ext uri="{FF2B5EF4-FFF2-40B4-BE49-F238E27FC236}">
                <a16:creationId xmlns:a16="http://schemas.microsoft.com/office/drawing/2014/main" id="{C39B39A3-CED5-49AD-A4D0-0F1D980AA5EB}"/>
              </a:ext>
            </a:extLst>
          </p:cNvPr>
          <p:cNvPicPr/>
          <p:nvPr userDrawn="1"/>
        </p:nvPicPr>
        <p:blipFill rotWithShape="1">
          <a:blip r:embed="rId4" cstate="print"/>
          <a:srcRect b="38801"/>
          <a:stretch/>
        </p:blipFill>
        <p:spPr>
          <a:xfrm>
            <a:off x="9608036" y="5462141"/>
            <a:ext cx="2264339" cy="804160"/>
          </a:xfrm>
          <a:prstGeom prst="rect">
            <a:avLst/>
          </a:prstGeom>
        </p:spPr>
      </p:pic>
    </p:spTree>
    <p:extLst>
      <p:ext uri="{BB962C8B-B14F-4D97-AF65-F5344CB8AC3E}">
        <p14:creationId xmlns:p14="http://schemas.microsoft.com/office/powerpoint/2010/main" val="1311506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p:txBody>
          <a:bodyPr/>
          <a:lstStyle/>
          <a:p>
            <a:fld id="{8129DC84-2AFF-4116-B256-B1BE37852B68}" type="datetime1">
              <a:rPr lang="nl-NL" smtClean="0"/>
              <a:t>16-6-2025</a:t>
            </a:fld>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p:txBody>
          <a:bodyPr/>
          <a:lstStyle/>
          <a:p>
            <a:fld id="{EFE032C4-C34B-48D4-845D-9AE692ACF3EA}" type="datetime1">
              <a:rPr lang="nl-NL" smtClean="0"/>
              <a:t>16-6-2025</a:t>
            </a:fld>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p:spPr>
        <p:txBody>
          <a:bodyPr/>
          <a:lstStyle>
            <a:lvl1pPr>
              <a:defRPr>
                <a:solidFill>
                  <a:srgbClr val="151B22"/>
                </a:solidFill>
              </a:defRPr>
            </a:lvl1pPr>
          </a:lstStyle>
          <a:p>
            <a:fld id="{242680F2-0C4B-4870-8367-640D1CF39910}" type="datetime1">
              <a:rPr lang="nl-NL" smtClean="0"/>
              <a:t>16-6-2025</a:t>
            </a:fld>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p:spPr>
        <p:txBody>
          <a:bodyPr/>
          <a:lstStyle>
            <a:lvl1pPr>
              <a:defRPr>
                <a:solidFill>
                  <a:srgbClr val="151B22"/>
                </a:solidFill>
              </a:defRPr>
            </a:lvl1pPr>
          </a:lstStyle>
          <a:p>
            <a:fld id="{6F7D51B1-1A92-47BE-8EB9-58642BA3E3CF}" type="datetime1">
              <a:rPr lang="nl-NL" smtClean="0"/>
              <a:t>16-6-2025</a:t>
            </a:fld>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p:spPr>
        <p:txBody>
          <a:bodyPr/>
          <a:lstStyle>
            <a:lvl1pPr>
              <a:defRPr>
                <a:solidFill>
                  <a:srgbClr val="181D21"/>
                </a:solidFill>
              </a:defRPr>
            </a:lvl1pPr>
          </a:lstStyle>
          <a:p>
            <a:fld id="{E2F848DC-6946-43DB-9152-9A0DCEA96C6F}" type="datetime1">
              <a:rPr lang="nl-NL" smtClean="0"/>
              <a:t>16-6-2025</a:t>
            </a:fld>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p:spPr>
        <p:txBody>
          <a:bodyPr/>
          <a:lstStyle>
            <a:lvl1pPr>
              <a:defRPr>
                <a:solidFill>
                  <a:srgbClr val="181D21"/>
                </a:solidFill>
              </a:defRPr>
            </a:lvl1pPr>
          </a:lstStyle>
          <a:p>
            <a:fld id="{4B4B82A8-9526-4435-9022-86AFEC049B61}" type="datetime1">
              <a:rPr lang="nl-NL" smtClean="0"/>
              <a:t>16-6-2025</a:t>
            </a:fld>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p:spPr>
        <p:txBody>
          <a:bodyPr/>
          <a:lstStyle>
            <a:lvl1pPr>
              <a:defRPr>
                <a:solidFill>
                  <a:srgbClr val="181D21"/>
                </a:solidFill>
              </a:defRPr>
            </a:lvl1pPr>
          </a:lstStyle>
          <a:p>
            <a:fld id="{31C040C1-A1B7-4FA7-B077-FAAD37816AC2}" type="datetime1">
              <a:rPr lang="nl-NL" smtClean="0"/>
              <a:t>16-6-2025</a:t>
            </a:fld>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p:spPr>
        <p:txBody>
          <a:bodyPr/>
          <a:lstStyle>
            <a:lvl1pPr>
              <a:defRPr>
                <a:solidFill>
                  <a:srgbClr val="181D21"/>
                </a:solidFill>
              </a:defRPr>
            </a:lvl1pPr>
          </a:lstStyle>
          <a:p>
            <a:fld id="{8727E835-323B-4D82-8DBA-E6F478529511}" type="datetime1">
              <a:rPr lang="nl-NL" smtClean="0"/>
              <a:t>16-6-2025</a:t>
            </a:fld>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4" name="Tijdelijke aanduiding voor datum 3">
            <a:extLst>
              <a:ext uri="{FF2B5EF4-FFF2-40B4-BE49-F238E27FC236}">
                <a16:creationId xmlns:a16="http://schemas.microsoft.com/office/drawing/2014/main" id="{DDE99127-9CFA-A5F4-978A-ED9A234514ED}"/>
              </a:ext>
            </a:extLst>
          </p:cNvPr>
          <p:cNvSpPr>
            <a:spLocks noGrp="1"/>
          </p:cNvSpPr>
          <p:nvPr>
            <p:ph type="dt" sz="half" idx="2"/>
          </p:nvPr>
        </p:nvSpPr>
        <p:spPr>
          <a:xfrm>
            <a:off x="698742" y="6241062"/>
            <a:ext cx="5397257" cy="123111"/>
          </a:xfrm>
          <a:prstGeom prst="rect">
            <a:avLst/>
          </a:prstGeom>
          <a:noFill/>
        </p:spPr>
        <p:txBody>
          <a:bodyPr vert="horz" lIns="0" tIns="0" rIns="0" bIns="0" rtlCol="0" anchor="ctr">
            <a:noAutofit/>
          </a:bodyPr>
          <a:lstStyle>
            <a:lvl1pPr algn="l">
              <a:defRPr sz="800">
                <a:solidFill>
                  <a:schemeClr val="tx1"/>
                </a:solidFill>
              </a:defRPr>
            </a:lvl1pPr>
          </a:lstStyle>
          <a:p>
            <a:fld id="{32154E84-D83E-4542-AFEA-7F793E4D51E0}" type="datetime1">
              <a:rPr lang="nl-NL" smtClean="0"/>
              <a:t>16-6-2025</a:t>
            </a:fld>
            <a:endParaRPr lang="nl-NL"/>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8" r:id="rId10"/>
  </p:sldLayoutIdLst>
  <p:hf sldNum="0" hdr="0" ftr="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1.jpe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title"/>
          </p:nvPr>
        </p:nvSpPr>
        <p:spPr/>
        <p:txBody>
          <a:bodyPr/>
          <a:lstStyle/>
          <a:p>
            <a:r>
              <a:rPr lang="nl-NL" sz="4800"/>
              <a:t>Netwerkevaluatie</a:t>
            </a:r>
            <a:br>
              <a:rPr lang="nl-NL" sz="4800"/>
            </a:br>
            <a:r>
              <a:rPr lang="nl-NL" sz="3200"/>
              <a:t>Netwerk Palliatieve zorg regio Gelderse Vallei</a:t>
            </a:r>
          </a:p>
        </p:txBody>
      </p:sp>
      <p:sp>
        <p:nvSpPr>
          <p:cNvPr id="11" name="Ondertitel 10">
            <a:extLst>
              <a:ext uri="{FF2B5EF4-FFF2-40B4-BE49-F238E27FC236}">
                <a16:creationId xmlns:a16="http://schemas.microsoft.com/office/drawing/2014/main" id="{353125B2-72A9-B223-260D-25D0D4D8A4F2}"/>
              </a:ext>
            </a:extLst>
          </p:cNvPr>
          <p:cNvSpPr>
            <a:spLocks noGrp="1"/>
          </p:cNvSpPr>
          <p:nvPr>
            <p:ph idx="1"/>
          </p:nvPr>
        </p:nvSpPr>
        <p:spPr>
          <a:xfrm>
            <a:off x="704850" y="4581987"/>
            <a:ext cx="9389175" cy="1804926"/>
          </a:xfrm>
        </p:spPr>
        <p:txBody>
          <a:bodyPr vert="horz" lIns="0" tIns="0" rIns="0" bIns="0" rtlCol="0" anchor="t">
            <a:noAutofit/>
          </a:bodyPr>
          <a:lstStyle/>
          <a:p>
            <a:pPr lvl="3"/>
            <a:r>
              <a:rPr lang="nl-NL" sz="2400" b="0" i="1">
                <a:solidFill>
                  <a:schemeClr val="accent2"/>
                </a:solidFill>
              </a:rPr>
              <a:t>Eveline van Drielen– adviseur PZNL</a:t>
            </a:r>
          </a:p>
          <a:p>
            <a:pPr lvl="3"/>
            <a:r>
              <a:rPr lang="nl-NL" sz="2400" b="0" i="1">
                <a:solidFill>
                  <a:schemeClr val="accent2"/>
                </a:solidFill>
              </a:rPr>
              <a:t>Henk-Jan de Winter – adviseur PZNL</a:t>
            </a:r>
          </a:p>
          <a:p>
            <a:pPr lvl="3"/>
            <a:endParaRPr lang="nl-NL" sz="2400" b="0" i="1">
              <a:solidFill>
                <a:schemeClr val="accent2"/>
              </a:solidFill>
              <a:cs typeface="Poppins"/>
            </a:endParaRPr>
          </a:p>
          <a:p>
            <a:pPr lvl="3"/>
            <a:r>
              <a:rPr lang="nl-NL" sz="1800" b="0" i="1">
                <a:solidFill>
                  <a:schemeClr val="accent2"/>
                </a:solidFill>
                <a:cs typeface="Poppins"/>
              </a:rPr>
              <a:t>Donderdag 26 juni 2025</a:t>
            </a:r>
          </a:p>
        </p:txBody>
      </p:sp>
      <p:pic>
        <p:nvPicPr>
          <p:cNvPr id="2050" name="Picture 2">
            <a:extLst>
              <a:ext uri="{FF2B5EF4-FFF2-40B4-BE49-F238E27FC236}">
                <a16:creationId xmlns:a16="http://schemas.microsoft.com/office/drawing/2014/main" id="{35A0C95B-3119-6A87-DE79-37F13853A0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5094" y="3429000"/>
            <a:ext cx="4725879" cy="25336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760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C6BD8D-5E53-1DE1-350C-EE89038B833B}"/>
              </a:ext>
            </a:extLst>
          </p:cNvPr>
          <p:cNvSpPr>
            <a:spLocks noGrp="1"/>
          </p:cNvSpPr>
          <p:nvPr>
            <p:ph type="title"/>
          </p:nvPr>
        </p:nvSpPr>
        <p:spPr>
          <a:xfrm>
            <a:off x="704851" y="701675"/>
            <a:ext cx="10801350" cy="449251"/>
          </a:xfrm>
        </p:spPr>
        <p:txBody>
          <a:bodyPr anchor="t">
            <a:noAutofit/>
          </a:bodyPr>
          <a:lstStyle/>
          <a:p>
            <a:r>
              <a:rPr kumimoji="0" lang="nl-NL" sz="3600" b="0" i="0" u="none" strike="noStrike" kern="1200" cap="none" spc="0" normalizeH="0" baseline="0" noProof="0">
                <a:ln>
                  <a:noFill/>
                </a:ln>
                <a:effectLst/>
                <a:uLnTx/>
                <a:uFillTx/>
              </a:rPr>
              <a:t>Wensen voor het netwerk</a:t>
            </a:r>
            <a:endParaRPr lang="nl-NL" sz="3600" noProof="0"/>
          </a:p>
        </p:txBody>
      </p:sp>
      <p:sp>
        <p:nvSpPr>
          <p:cNvPr id="3" name="Tijdelijke aanduiding voor inhoud 2">
            <a:extLst>
              <a:ext uri="{FF2B5EF4-FFF2-40B4-BE49-F238E27FC236}">
                <a16:creationId xmlns:a16="http://schemas.microsoft.com/office/drawing/2014/main" id="{51B2A419-3E41-4E59-57AB-A2BC5F18E52F}"/>
              </a:ext>
            </a:extLst>
          </p:cNvPr>
          <p:cNvSpPr>
            <a:spLocks noGrp="1"/>
          </p:cNvSpPr>
          <p:nvPr>
            <p:ph idx="1"/>
          </p:nvPr>
        </p:nvSpPr>
        <p:spPr>
          <a:xfrm>
            <a:off x="940378" y="1811223"/>
            <a:ext cx="10800000" cy="4552950"/>
          </a:xfrm>
        </p:spPr>
        <p:txBody>
          <a:bodyPr>
            <a:normAutofit/>
          </a:bodyPr>
          <a:lstStyle/>
          <a:p>
            <a:pPr fontAlgn="base">
              <a:spcAft>
                <a:spcPts val="600"/>
              </a:spcAft>
              <a:defRPr/>
            </a:pPr>
            <a:r>
              <a:rPr kumimoji="0" lang="nl-NL" sz="2400" b="0" i="0" u="none" strike="noStrike" kern="1200" cap="none" spc="0" normalizeH="0" baseline="0" noProof="0">
                <a:ln>
                  <a:noFill/>
                </a:ln>
                <a:effectLst/>
                <a:uLnTx/>
                <a:uFillTx/>
              </a:rPr>
              <a:t>Versterken samenwerking</a:t>
            </a:r>
          </a:p>
          <a:p>
            <a:pPr marR="0" lvl="0" defTabSz="914400" rtl="0" eaLnBrk="1" fontAlgn="base" latinLnBrk="0" hangingPunct="1">
              <a:spcBef>
                <a:spcPts val="0"/>
              </a:spcBef>
              <a:spcAft>
                <a:spcPts val="600"/>
              </a:spcAft>
              <a:buClrTx/>
              <a:buSzTx/>
              <a:tabLst/>
              <a:defRPr/>
            </a:pPr>
            <a:r>
              <a:rPr kumimoji="0" lang="nl-NL" sz="2400" b="0" i="0" u="none" strike="noStrike" kern="1200" cap="none" spc="0" normalizeH="0" baseline="0" noProof="0">
                <a:ln>
                  <a:noFill/>
                </a:ln>
                <a:effectLst/>
                <a:uLnTx/>
                <a:uFillTx/>
              </a:rPr>
              <a:t>Meer transparantie en zichtbare bijdrage van het netwerk in de regio</a:t>
            </a:r>
          </a:p>
          <a:p>
            <a:pPr marR="0" lvl="0" defTabSz="914400" rtl="0" eaLnBrk="1" fontAlgn="base" latinLnBrk="0" hangingPunct="1">
              <a:spcBef>
                <a:spcPts val="0"/>
              </a:spcBef>
              <a:spcAft>
                <a:spcPts val="600"/>
              </a:spcAft>
              <a:buClrTx/>
              <a:buSzTx/>
              <a:tabLst/>
              <a:defRPr/>
            </a:pPr>
            <a:r>
              <a:rPr kumimoji="0" lang="nl-NL" sz="2400" b="0" i="0" u="none" strike="noStrike" kern="1200" cap="none" spc="0" normalizeH="0" baseline="0" noProof="0">
                <a:ln>
                  <a:noFill/>
                </a:ln>
                <a:effectLst/>
                <a:uLnTx/>
                <a:uFillTx/>
              </a:rPr>
              <a:t>Korte lijnen</a:t>
            </a:r>
          </a:p>
          <a:p>
            <a:pPr marR="0" lvl="0" defTabSz="914400" rtl="0" eaLnBrk="1" fontAlgn="base" latinLnBrk="0" hangingPunct="1">
              <a:spcBef>
                <a:spcPts val="0"/>
              </a:spcBef>
              <a:spcAft>
                <a:spcPts val="600"/>
              </a:spcAft>
              <a:buClrTx/>
              <a:buSzTx/>
              <a:tabLst/>
              <a:defRPr/>
            </a:pPr>
            <a:r>
              <a:rPr kumimoji="0" lang="nl-NL" sz="2400" b="0" i="0" u="none" strike="noStrike" kern="1200" cap="none" spc="0" normalizeH="0" baseline="0" noProof="0">
                <a:ln>
                  <a:noFill/>
                </a:ln>
                <a:effectLst/>
                <a:uLnTx/>
                <a:uFillTx/>
              </a:rPr>
              <a:t>Versterken samenwerking informele en formele zorg en welzijn</a:t>
            </a:r>
          </a:p>
          <a:p>
            <a:pPr marR="0" lvl="0" defTabSz="914400" rtl="0" eaLnBrk="1" fontAlgn="base" latinLnBrk="0" hangingPunct="1">
              <a:spcBef>
                <a:spcPts val="0"/>
              </a:spcBef>
              <a:spcAft>
                <a:spcPts val="600"/>
              </a:spcAft>
              <a:buClrTx/>
              <a:buSzTx/>
              <a:tabLst/>
              <a:defRPr/>
            </a:pPr>
            <a:r>
              <a:rPr lang="nl-NL" sz="2400"/>
              <a:t>Over de muren van de organisaties heen denken</a:t>
            </a:r>
            <a:endParaRPr kumimoji="0" lang="nl-NL" sz="2400" b="0" i="0" u="none" strike="noStrike" kern="1200" cap="none" spc="0" normalizeH="0" baseline="0" noProof="0">
              <a:ln>
                <a:noFill/>
              </a:ln>
              <a:effectLst/>
              <a:uLnTx/>
              <a:uFillTx/>
            </a:endParaRPr>
          </a:p>
          <a:p>
            <a:pPr marL="0" marR="0" lvl="0" indent="0" defTabSz="914400" rtl="0" eaLnBrk="1" fontAlgn="base" latinLnBrk="0" hangingPunct="1">
              <a:spcBef>
                <a:spcPts val="0"/>
              </a:spcBef>
              <a:spcAft>
                <a:spcPts val="600"/>
              </a:spcAft>
              <a:buClrTx/>
              <a:buSzTx/>
              <a:buNone/>
              <a:tabLst/>
              <a:defRPr/>
            </a:pPr>
            <a:endParaRPr lang="nl-NL"/>
          </a:p>
          <a:p>
            <a:pPr marL="0" marR="0" lvl="0" indent="0" defTabSz="914400" rtl="0" eaLnBrk="1" fontAlgn="base" latinLnBrk="0" hangingPunct="1">
              <a:spcBef>
                <a:spcPts val="0"/>
              </a:spcBef>
              <a:spcAft>
                <a:spcPts val="600"/>
              </a:spcAft>
              <a:buClrTx/>
              <a:buSzTx/>
              <a:buNone/>
              <a:tabLst/>
              <a:defRPr/>
            </a:pPr>
            <a:endParaRPr kumimoji="0" lang="nl-NL" b="0" i="0" u="none" strike="noStrike" kern="1200" cap="none" spc="0" normalizeH="0" baseline="0" noProof="0">
              <a:ln>
                <a:noFill/>
              </a:ln>
              <a:effectLst/>
              <a:uLnTx/>
              <a:uFillTx/>
            </a:endParaRPr>
          </a:p>
          <a:p>
            <a:pPr>
              <a:spcAft>
                <a:spcPts val="600"/>
              </a:spcAft>
            </a:pPr>
            <a:endParaRPr lang="nl-NL"/>
          </a:p>
          <a:p>
            <a:pPr marL="0" indent="0">
              <a:spcAft>
                <a:spcPts val="600"/>
              </a:spcAft>
              <a:buNone/>
            </a:pPr>
            <a:endParaRPr lang="nl-NL" noProof="0"/>
          </a:p>
          <a:p>
            <a:pPr marL="0" indent="0">
              <a:spcAft>
                <a:spcPts val="600"/>
              </a:spcAft>
              <a:buNone/>
            </a:pPr>
            <a:endParaRPr lang="nl-NL" noProof="0"/>
          </a:p>
        </p:txBody>
      </p:sp>
      <p:pic>
        <p:nvPicPr>
          <p:cNvPr id="5" name="Afbeelding 4">
            <a:extLst>
              <a:ext uri="{FF2B5EF4-FFF2-40B4-BE49-F238E27FC236}">
                <a16:creationId xmlns:a16="http://schemas.microsoft.com/office/drawing/2014/main" id="{12532A90-ADB6-F5EB-6F3D-1DD00878B92E}"/>
              </a:ext>
            </a:extLst>
          </p:cNvPr>
          <p:cNvPicPr>
            <a:picLocks noChangeAspect="1"/>
          </p:cNvPicPr>
          <p:nvPr/>
        </p:nvPicPr>
        <p:blipFill>
          <a:blip r:embed="rId3"/>
          <a:stretch>
            <a:fillRect/>
          </a:stretch>
        </p:blipFill>
        <p:spPr>
          <a:xfrm>
            <a:off x="8600090" y="4313824"/>
            <a:ext cx="2893168" cy="1927238"/>
          </a:xfrm>
          <a:prstGeom prst="rect">
            <a:avLst/>
          </a:prstGeom>
        </p:spPr>
      </p:pic>
    </p:spTree>
    <p:extLst>
      <p:ext uri="{BB962C8B-B14F-4D97-AF65-F5344CB8AC3E}">
        <p14:creationId xmlns:p14="http://schemas.microsoft.com/office/powerpoint/2010/main" val="929390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D488A-9871-86BC-31F3-B0A76F322715}"/>
            </a:ext>
          </a:extLst>
        </p:cNvPr>
        <p:cNvGrpSpPr/>
        <p:nvPr/>
      </p:nvGrpSpPr>
      <p:grpSpPr>
        <a:xfrm>
          <a:off x="0" y="0"/>
          <a:ext cx="0" cy="0"/>
          <a:chOff x="0" y="0"/>
          <a:chExt cx="0" cy="0"/>
        </a:xfrm>
      </p:grpSpPr>
      <p:sp>
        <p:nvSpPr>
          <p:cNvPr id="8" name="Titel 1">
            <a:extLst>
              <a:ext uri="{FF2B5EF4-FFF2-40B4-BE49-F238E27FC236}">
                <a16:creationId xmlns:a16="http://schemas.microsoft.com/office/drawing/2014/main" id="{134D5210-2558-F89F-4B26-5E60ECEE5986}"/>
              </a:ext>
            </a:extLst>
          </p:cNvPr>
          <p:cNvSpPr>
            <a:spLocks noGrp="1"/>
          </p:cNvSpPr>
          <p:nvPr>
            <p:ph type="title"/>
          </p:nvPr>
        </p:nvSpPr>
        <p:spPr>
          <a:xfrm>
            <a:off x="704851" y="701675"/>
            <a:ext cx="10801350" cy="449251"/>
          </a:xfrm>
        </p:spPr>
        <p:txBody>
          <a:bodyPr anchor="t">
            <a:noAutofit/>
          </a:bodyPr>
          <a:lstStyle/>
          <a:p>
            <a:pPr algn="ctr"/>
            <a:r>
              <a:rPr lang="nl-NL" sz="3600"/>
              <a:t>Reflectie</a:t>
            </a:r>
          </a:p>
        </p:txBody>
      </p:sp>
      <p:graphicFrame>
        <p:nvGraphicFramePr>
          <p:cNvPr id="9" name="Tijdelijke aanduiding voor inhoud 2">
            <a:extLst>
              <a:ext uri="{FF2B5EF4-FFF2-40B4-BE49-F238E27FC236}">
                <a16:creationId xmlns:a16="http://schemas.microsoft.com/office/drawing/2014/main" id="{A78B7030-5019-5E16-1C6B-050C4D1FE9A5}"/>
              </a:ext>
            </a:extLst>
          </p:cNvPr>
          <p:cNvGraphicFramePr>
            <a:graphicFrameLocks/>
          </p:cNvGraphicFramePr>
          <p:nvPr/>
        </p:nvGraphicFramePr>
        <p:xfrm>
          <a:off x="6366773" y="1705818"/>
          <a:ext cx="5218112" cy="36906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Tijdelijke aanduiding voor inhoud 4">
            <a:extLst>
              <a:ext uri="{FF2B5EF4-FFF2-40B4-BE49-F238E27FC236}">
                <a16:creationId xmlns:a16="http://schemas.microsoft.com/office/drawing/2014/main" id="{980BE3DB-D8FF-67BB-CEA7-8F705D544C9D}"/>
              </a:ext>
            </a:extLst>
          </p:cNvPr>
          <p:cNvPicPr>
            <a:picLocks noGrp="1" noChangeAspect="1"/>
          </p:cNvPicPr>
          <p:nvPr>
            <p:ph sz="half" idx="1"/>
          </p:nvPr>
        </p:nvPicPr>
        <p:blipFill>
          <a:blip r:embed="rId8"/>
          <a:stretch>
            <a:fillRect/>
          </a:stretch>
        </p:blipFill>
        <p:spPr>
          <a:xfrm>
            <a:off x="698500" y="1703737"/>
            <a:ext cx="5218113" cy="3691827"/>
          </a:xfrm>
          <a:prstGeom prst="rect">
            <a:avLst/>
          </a:prstGeom>
        </p:spPr>
      </p:pic>
    </p:spTree>
    <p:extLst>
      <p:ext uri="{BB962C8B-B14F-4D97-AF65-F5344CB8AC3E}">
        <p14:creationId xmlns:p14="http://schemas.microsoft.com/office/powerpoint/2010/main" val="1406440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77E79D-4D5B-5C58-6534-C3D98931E7D9}"/>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EF53D096-2232-540F-7093-E8639EA74881}"/>
              </a:ext>
            </a:extLst>
          </p:cNvPr>
          <p:cNvSpPr>
            <a:spLocks noGrp="1"/>
          </p:cNvSpPr>
          <p:nvPr>
            <p:ph type="title"/>
          </p:nvPr>
        </p:nvSpPr>
        <p:spPr>
          <a:xfrm>
            <a:off x="704851" y="701675"/>
            <a:ext cx="10801350" cy="830242"/>
          </a:xfrm>
        </p:spPr>
        <p:txBody>
          <a:bodyPr anchor="t">
            <a:noAutofit/>
          </a:bodyPr>
          <a:lstStyle/>
          <a:p>
            <a:r>
              <a:rPr lang="nl-NL" sz="3200" noProof="0"/>
              <a:t>Cijfer voor samenwerking</a:t>
            </a:r>
            <a:endParaRPr lang="nl-NL" sz="3200" noProof="0">
              <a:highlight>
                <a:srgbClr val="FFFF00"/>
              </a:highlight>
            </a:endParaRPr>
          </a:p>
        </p:txBody>
      </p:sp>
      <p:sp>
        <p:nvSpPr>
          <p:cNvPr id="57" name="Tijdelijke aanduiding voor inhoud 7">
            <a:extLst>
              <a:ext uri="{FF2B5EF4-FFF2-40B4-BE49-F238E27FC236}">
                <a16:creationId xmlns:a16="http://schemas.microsoft.com/office/drawing/2014/main" id="{D5E677BF-AD80-2058-C121-312B0ADDE34A}"/>
              </a:ext>
            </a:extLst>
          </p:cNvPr>
          <p:cNvSpPr>
            <a:spLocks noGrp="1"/>
          </p:cNvSpPr>
          <p:nvPr>
            <p:ph idx="1"/>
          </p:nvPr>
        </p:nvSpPr>
        <p:spPr>
          <a:xfrm>
            <a:off x="704851" y="1277938"/>
            <a:ext cx="10800000" cy="4963124"/>
          </a:xfrm>
        </p:spPr>
        <p:txBody>
          <a:bodyPr vert="horz" lIns="0" tIns="0" rIns="0" bIns="0" rtlCol="0" anchor="t">
            <a:normAutofit/>
          </a:bodyPr>
          <a:lstStyle/>
          <a:p>
            <a:pPr marL="0" indent="0" rtl="0" fontAlgn="base">
              <a:spcAft>
                <a:spcPts val="600"/>
              </a:spcAft>
              <a:buNone/>
            </a:pPr>
            <a:r>
              <a:rPr lang="nl-NL" sz="2000" b="1" noProof="0">
                <a:solidFill>
                  <a:schemeClr val="accent6">
                    <a:lumMod val="90000"/>
                  </a:schemeClr>
                </a:solidFill>
              </a:rPr>
              <a:t>Zorgprofessionals</a:t>
            </a:r>
            <a:endParaRPr lang="nl-NL" sz="2000" b="1" i="0" noProof="0">
              <a:solidFill>
                <a:schemeClr val="accent6">
                  <a:lumMod val="90000"/>
                </a:schemeClr>
              </a:solidFill>
              <a:effectLst/>
            </a:endParaRPr>
          </a:p>
          <a:p>
            <a:pPr marL="287655" indent="-287655" rtl="0" fontAlgn="base">
              <a:spcAft>
                <a:spcPts val="600"/>
              </a:spcAft>
            </a:pPr>
            <a:r>
              <a:rPr lang="nl-NL" sz="2000" noProof="0"/>
              <a:t>7,6</a:t>
            </a:r>
            <a:endParaRPr lang="nl-NL" sz="2000" noProof="0">
              <a:cs typeface="Poppins"/>
            </a:endParaRPr>
          </a:p>
          <a:p>
            <a:pPr marL="0" indent="0" rtl="0" fontAlgn="base">
              <a:spcAft>
                <a:spcPts val="600"/>
              </a:spcAft>
              <a:buNone/>
            </a:pPr>
            <a:endParaRPr lang="nl-NL" sz="2000" noProof="0"/>
          </a:p>
          <a:p>
            <a:pPr marL="0" indent="0" rtl="0" fontAlgn="base">
              <a:spcAft>
                <a:spcPts val="600"/>
              </a:spcAft>
              <a:buNone/>
            </a:pPr>
            <a:r>
              <a:rPr lang="nl-NL" sz="2000" b="1" noProof="0">
                <a:solidFill>
                  <a:schemeClr val="accent6">
                    <a:lumMod val="90000"/>
                  </a:schemeClr>
                </a:solidFill>
              </a:rPr>
              <a:t>Bestuurders</a:t>
            </a:r>
          </a:p>
          <a:p>
            <a:pPr marL="287655" indent="-287655" rtl="0" fontAlgn="base">
              <a:spcAft>
                <a:spcPts val="600"/>
              </a:spcAft>
            </a:pPr>
            <a:r>
              <a:rPr lang="nl-NL" sz="2000" noProof="0"/>
              <a:t>7,4</a:t>
            </a:r>
            <a:endParaRPr lang="nl-NL" sz="2000"/>
          </a:p>
          <a:p>
            <a:pPr marL="0" indent="0" rtl="0" fontAlgn="base">
              <a:spcAft>
                <a:spcPts val="600"/>
              </a:spcAft>
              <a:buNone/>
            </a:pPr>
            <a:endParaRPr lang="nl-NL" sz="2000"/>
          </a:p>
          <a:p>
            <a:pPr marL="0" indent="0" fontAlgn="base">
              <a:spcAft>
                <a:spcPts val="600"/>
              </a:spcAft>
              <a:buNone/>
            </a:pPr>
            <a:r>
              <a:rPr lang="nl-NL" sz="2000" b="1">
                <a:solidFill>
                  <a:schemeClr val="accent6">
                    <a:lumMod val="90000"/>
                  </a:schemeClr>
                </a:solidFill>
              </a:rPr>
              <a:t>Netwerkcoördinator</a:t>
            </a:r>
          </a:p>
          <a:p>
            <a:pPr fontAlgn="base">
              <a:spcAft>
                <a:spcPts val="600"/>
              </a:spcAft>
            </a:pPr>
            <a:r>
              <a:rPr lang="nl-NL" sz="2000"/>
              <a:t>7</a:t>
            </a:r>
          </a:p>
          <a:p>
            <a:pPr marL="287655" indent="-287655" rtl="0" fontAlgn="base">
              <a:spcAft>
                <a:spcPts val="600"/>
              </a:spcAft>
            </a:pPr>
            <a:endParaRPr lang="nl-NL" sz="2400" noProof="0">
              <a:cs typeface="Poppins"/>
            </a:endParaRPr>
          </a:p>
          <a:p>
            <a:pPr marL="287655" indent="-287655" rtl="0" fontAlgn="base">
              <a:spcAft>
                <a:spcPts val="600"/>
              </a:spcAft>
              <a:buFontTx/>
              <a:buChar char="-"/>
            </a:pPr>
            <a:endParaRPr lang="nl-NL" b="0" i="0" noProof="0">
              <a:effectLst/>
              <a:cs typeface="Poppins"/>
            </a:endParaRPr>
          </a:p>
          <a:p>
            <a:pPr marL="0" indent="0" rtl="0" fontAlgn="base">
              <a:spcAft>
                <a:spcPts val="600"/>
              </a:spcAft>
              <a:buNone/>
            </a:pPr>
            <a:endParaRPr lang="nl-NL" b="0" i="0" noProof="0">
              <a:effectLst/>
            </a:endParaRPr>
          </a:p>
        </p:txBody>
      </p:sp>
      <p:pic>
        <p:nvPicPr>
          <p:cNvPr id="2" name="Afbeelding 1">
            <a:extLst>
              <a:ext uri="{FF2B5EF4-FFF2-40B4-BE49-F238E27FC236}">
                <a16:creationId xmlns:a16="http://schemas.microsoft.com/office/drawing/2014/main" id="{D07AA376-BB66-B487-0314-F8123F864F1A}"/>
              </a:ext>
            </a:extLst>
          </p:cNvPr>
          <p:cNvPicPr>
            <a:picLocks noChangeAspect="1"/>
          </p:cNvPicPr>
          <p:nvPr/>
        </p:nvPicPr>
        <p:blipFill>
          <a:blip r:embed="rId3"/>
          <a:stretch>
            <a:fillRect/>
          </a:stretch>
        </p:blipFill>
        <p:spPr>
          <a:xfrm>
            <a:off x="6555010" y="2108180"/>
            <a:ext cx="4153354" cy="4153354"/>
          </a:xfrm>
          <a:prstGeom prst="rect">
            <a:avLst/>
          </a:prstGeom>
        </p:spPr>
      </p:pic>
    </p:spTree>
    <p:extLst>
      <p:ext uri="{BB962C8B-B14F-4D97-AF65-F5344CB8AC3E}">
        <p14:creationId xmlns:p14="http://schemas.microsoft.com/office/powerpoint/2010/main" val="1347400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6F054-7D83-CD8D-9704-31EB2607892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320B4B0-3E1C-B5D7-633E-982C18697970}"/>
              </a:ext>
            </a:extLst>
          </p:cNvPr>
          <p:cNvSpPr>
            <a:spLocks noGrp="1"/>
          </p:cNvSpPr>
          <p:nvPr>
            <p:ph type="title"/>
          </p:nvPr>
        </p:nvSpPr>
        <p:spPr>
          <a:xfrm>
            <a:off x="704851" y="701675"/>
            <a:ext cx="10801350" cy="449251"/>
          </a:xfrm>
        </p:spPr>
        <p:txBody>
          <a:bodyPr anchor="t">
            <a:normAutofit fontScale="90000"/>
          </a:bodyPr>
          <a:lstStyle/>
          <a:p>
            <a:r>
              <a:rPr lang="nl-NL"/>
              <a:t> </a:t>
            </a:r>
            <a:r>
              <a:rPr lang="nl-NL" sz="3600"/>
              <a:t>Ambitie (wat willen we met het Netwerk bereiken)</a:t>
            </a:r>
          </a:p>
        </p:txBody>
      </p:sp>
      <p:graphicFrame>
        <p:nvGraphicFramePr>
          <p:cNvPr id="3" name="Tijdelijke aanduiding voor inhoud 2">
            <a:extLst>
              <a:ext uri="{FF2B5EF4-FFF2-40B4-BE49-F238E27FC236}">
                <a16:creationId xmlns:a16="http://schemas.microsoft.com/office/drawing/2014/main" id="{E609A96A-6EA3-C8FB-D869-9F7DA6F371CE}"/>
              </a:ext>
            </a:extLst>
          </p:cNvPr>
          <p:cNvGraphicFramePr>
            <a:graphicFrameLocks noGrp="1"/>
          </p:cNvGraphicFramePr>
          <p:nvPr>
            <p:ph sz="half" idx="1"/>
            <p:extLst>
              <p:ext uri="{D42A27DB-BD31-4B8C-83A1-F6EECF244321}">
                <p14:modId xmlns:p14="http://schemas.microsoft.com/office/powerpoint/2010/main" val="135063625"/>
              </p:ext>
            </p:extLst>
          </p:nvPr>
        </p:nvGraphicFramePr>
        <p:xfrm>
          <a:off x="2637901" y="1263588"/>
          <a:ext cx="9074650" cy="48927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Afbeelding 3">
            <a:extLst>
              <a:ext uri="{FF2B5EF4-FFF2-40B4-BE49-F238E27FC236}">
                <a16:creationId xmlns:a16="http://schemas.microsoft.com/office/drawing/2014/main" id="{FEFB5B16-6925-C868-8515-12464347E8AF}"/>
              </a:ext>
            </a:extLst>
          </p:cNvPr>
          <p:cNvPicPr>
            <a:picLocks noChangeAspect="1"/>
          </p:cNvPicPr>
          <p:nvPr/>
        </p:nvPicPr>
        <p:blipFill>
          <a:blip r:embed="rId8"/>
          <a:stretch>
            <a:fillRect/>
          </a:stretch>
        </p:blipFill>
        <p:spPr>
          <a:xfrm>
            <a:off x="381191" y="2002412"/>
            <a:ext cx="2853175" cy="2853175"/>
          </a:xfrm>
          <a:prstGeom prst="rect">
            <a:avLst/>
          </a:prstGeom>
        </p:spPr>
      </p:pic>
    </p:spTree>
    <p:extLst>
      <p:ext uri="{BB962C8B-B14F-4D97-AF65-F5344CB8AC3E}">
        <p14:creationId xmlns:p14="http://schemas.microsoft.com/office/powerpoint/2010/main" val="1863458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10935-7C74-D6B4-B4B4-EFD7717FBA2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053453F-B826-4CCF-275B-4E54F5EBC1B8}"/>
              </a:ext>
            </a:extLst>
          </p:cNvPr>
          <p:cNvSpPr>
            <a:spLocks noGrp="1"/>
          </p:cNvSpPr>
          <p:nvPr>
            <p:ph type="title"/>
          </p:nvPr>
        </p:nvSpPr>
        <p:spPr>
          <a:xfrm>
            <a:off x="704851" y="701675"/>
            <a:ext cx="10801350" cy="449251"/>
          </a:xfrm>
        </p:spPr>
        <p:txBody>
          <a:bodyPr anchor="t">
            <a:normAutofit/>
          </a:bodyPr>
          <a:lstStyle/>
          <a:p>
            <a:r>
              <a:rPr lang="nl-NL"/>
              <a:t> </a:t>
            </a:r>
            <a:r>
              <a:rPr lang="nl-NL" sz="3200"/>
              <a:t>Belangen</a:t>
            </a:r>
          </a:p>
        </p:txBody>
      </p:sp>
      <p:graphicFrame>
        <p:nvGraphicFramePr>
          <p:cNvPr id="3" name="Tijdelijke aanduiding voor inhoud 2">
            <a:extLst>
              <a:ext uri="{FF2B5EF4-FFF2-40B4-BE49-F238E27FC236}">
                <a16:creationId xmlns:a16="http://schemas.microsoft.com/office/drawing/2014/main" id="{817139EC-D615-61A7-7776-5BCCADC72CF0}"/>
              </a:ext>
            </a:extLst>
          </p:cNvPr>
          <p:cNvGraphicFramePr>
            <a:graphicFrameLocks noGrp="1"/>
          </p:cNvGraphicFramePr>
          <p:nvPr>
            <p:ph sz="half" idx="1"/>
            <p:extLst>
              <p:ext uri="{D42A27DB-BD31-4B8C-83A1-F6EECF244321}">
                <p14:modId xmlns:p14="http://schemas.microsoft.com/office/powerpoint/2010/main" val="1473439477"/>
              </p:ext>
            </p:extLst>
          </p:nvPr>
        </p:nvGraphicFramePr>
        <p:xfrm>
          <a:off x="1140176" y="1455187"/>
          <a:ext cx="10164330" cy="456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58051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D0EF87-C451-1D60-4047-113F3AFF931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1EE419E-A01F-E58F-95DE-365D10BC4504}"/>
              </a:ext>
            </a:extLst>
          </p:cNvPr>
          <p:cNvSpPr>
            <a:spLocks noGrp="1"/>
          </p:cNvSpPr>
          <p:nvPr>
            <p:ph type="title"/>
          </p:nvPr>
        </p:nvSpPr>
        <p:spPr>
          <a:xfrm>
            <a:off x="704851" y="701675"/>
            <a:ext cx="10801350" cy="449251"/>
          </a:xfrm>
        </p:spPr>
        <p:txBody>
          <a:bodyPr anchor="t">
            <a:normAutofit/>
          </a:bodyPr>
          <a:lstStyle/>
          <a:p>
            <a:r>
              <a:rPr lang="nl-NL"/>
              <a:t> </a:t>
            </a:r>
            <a:r>
              <a:rPr lang="nl-NL" sz="3200"/>
              <a:t>Relaties</a:t>
            </a:r>
          </a:p>
        </p:txBody>
      </p:sp>
      <p:graphicFrame>
        <p:nvGraphicFramePr>
          <p:cNvPr id="3" name="Tijdelijke aanduiding voor inhoud 2">
            <a:extLst>
              <a:ext uri="{FF2B5EF4-FFF2-40B4-BE49-F238E27FC236}">
                <a16:creationId xmlns:a16="http://schemas.microsoft.com/office/drawing/2014/main" id="{AC313978-23F6-A476-39A3-235D94AF13E9}"/>
              </a:ext>
            </a:extLst>
          </p:cNvPr>
          <p:cNvGraphicFramePr>
            <a:graphicFrameLocks noGrp="1"/>
          </p:cNvGraphicFramePr>
          <p:nvPr>
            <p:ph sz="half" idx="1"/>
          </p:nvPr>
        </p:nvGraphicFramePr>
        <p:xfrm>
          <a:off x="698742" y="1268413"/>
          <a:ext cx="10164330" cy="456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Afbeelding 4" descr="Afbeelding met clipart, tekening, schets, illustratie&#10;&#10;Door AI gegenereerde inhoud is mogelijk onjuist.">
            <a:extLst>
              <a:ext uri="{FF2B5EF4-FFF2-40B4-BE49-F238E27FC236}">
                <a16:creationId xmlns:a16="http://schemas.microsoft.com/office/drawing/2014/main" id="{2C1F80D7-DCBD-1E86-4BD6-F11E847EFDC3}"/>
              </a:ext>
            </a:extLst>
          </p:cNvPr>
          <p:cNvPicPr>
            <a:picLocks noChangeAspect="1"/>
          </p:cNvPicPr>
          <p:nvPr/>
        </p:nvPicPr>
        <p:blipFill>
          <a:blip r:embed="rId8"/>
          <a:stretch>
            <a:fillRect/>
          </a:stretch>
        </p:blipFill>
        <p:spPr>
          <a:xfrm>
            <a:off x="8348990" y="4637087"/>
            <a:ext cx="2714625" cy="1905000"/>
          </a:xfrm>
          <a:prstGeom prst="rect">
            <a:avLst/>
          </a:prstGeom>
        </p:spPr>
      </p:pic>
    </p:spTree>
    <p:extLst>
      <p:ext uri="{BB962C8B-B14F-4D97-AF65-F5344CB8AC3E}">
        <p14:creationId xmlns:p14="http://schemas.microsoft.com/office/powerpoint/2010/main" val="19525108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9CEB9-F34C-15D6-3577-CEE01204FF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B5BCA874-840F-7815-F46A-310604172E7E}"/>
              </a:ext>
            </a:extLst>
          </p:cNvPr>
          <p:cNvSpPr>
            <a:spLocks noGrp="1"/>
          </p:cNvSpPr>
          <p:nvPr>
            <p:ph type="title"/>
          </p:nvPr>
        </p:nvSpPr>
        <p:spPr>
          <a:xfrm>
            <a:off x="698742" y="650875"/>
            <a:ext cx="10801350" cy="449251"/>
          </a:xfrm>
        </p:spPr>
        <p:txBody>
          <a:bodyPr anchor="t">
            <a:normAutofit/>
          </a:bodyPr>
          <a:lstStyle/>
          <a:p>
            <a:r>
              <a:rPr lang="nl-NL" sz="3200"/>
              <a:t>Proces</a:t>
            </a:r>
          </a:p>
        </p:txBody>
      </p:sp>
      <p:graphicFrame>
        <p:nvGraphicFramePr>
          <p:cNvPr id="3" name="Tijdelijke aanduiding voor inhoud 2">
            <a:extLst>
              <a:ext uri="{FF2B5EF4-FFF2-40B4-BE49-F238E27FC236}">
                <a16:creationId xmlns:a16="http://schemas.microsoft.com/office/drawing/2014/main" id="{2E2EE1CC-2CA8-AE39-AABE-92002F6C010B}"/>
              </a:ext>
            </a:extLst>
          </p:cNvPr>
          <p:cNvGraphicFramePr>
            <a:graphicFrameLocks noGrp="1"/>
          </p:cNvGraphicFramePr>
          <p:nvPr>
            <p:ph sz="half" idx="1"/>
            <p:extLst>
              <p:ext uri="{D42A27DB-BD31-4B8C-83A1-F6EECF244321}">
                <p14:modId xmlns:p14="http://schemas.microsoft.com/office/powerpoint/2010/main" val="1123380465"/>
              </p:ext>
            </p:extLst>
          </p:nvPr>
        </p:nvGraphicFramePr>
        <p:xfrm>
          <a:off x="698742" y="1268413"/>
          <a:ext cx="10801350" cy="456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85563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69218-7C4D-C72B-9018-954139B3E8D0}"/>
            </a:ext>
          </a:extLst>
        </p:cNvPr>
        <p:cNvGrpSpPr/>
        <p:nvPr/>
      </p:nvGrpSpPr>
      <p:grpSpPr>
        <a:xfrm>
          <a:off x="0" y="0"/>
          <a:ext cx="0" cy="0"/>
          <a:chOff x="0" y="0"/>
          <a:chExt cx="0" cy="0"/>
        </a:xfrm>
      </p:grpSpPr>
      <p:sp>
        <p:nvSpPr>
          <p:cNvPr id="2" name="Titel 6">
            <a:extLst>
              <a:ext uri="{FF2B5EF4-FFF2-40B4-BE49-F238E27FC236}">
                <a16:creationId xmlns:a16="http://schemas.microsoft.com/office/drawing/2014/main" id="{6FB716CE-F7FB-B319-BC9D-0BCB3671B808}"/>
              </a:ext>
            </a:extLst>
          </p:cNvPr>
          <p:cNvSpPr>
            <a:spLocks noGrp="1"/>
          </p:cNvSpPr>
          <p:nvPr>
            <p:ph type="title"/>
          </p:nvPr>
        </p:nvSpPr>
        <p:spPr>
          <a:xfrm>
            <a:off x="704851" y="701675"/>
            <a:ext cx="10801350" cy="449251"/>
          </a:xfrm>
        </p:spPr>
        <p:txBody>
          <a:bodyPr vert="horz" lIns="0" tIns="0" rIns="0" bIns="0" rtlCol="0" anchor="t" anchorCtr="0">
            <a:noAutofit/>
          </a:bodyPr>
          <a:lstStyle/>
          <a:p>
            <a:r>
              <a:rPr lang="nl-NL" sz="3600" kern="1200">
                <a:latin typeface="+mj-lt"/>
                <a:ea typeface="+mj-ea"/>
                <a:cs typeface="+mj-cs"/>
              </a:rPr>
              <a:t>Organisatie</a:t>
            </a:r>
          </a:p>
        </p:txBody>
      </p:sp>
      <p:graphicFrame>
        <p:nvGraphicFramePr>
          <p:cNvPr id="3" name="Tijdelijke aanduiding voor inhoud 2">
            <a:extLst>
              <a:ext uri="{FF2B5EF4-FFF2-40B4-BE49-F238E27FC236}">
                <a16:creationId xmlns:a16="http://schemas.microsoft.com/office/drawing/2014/main" id="{B03D0649-E89C-B126-A974-C0CE02F4C145}"/>
              </a:ext>
            </a:extLst>
          </p:cNvPr>
          <p:cNvGraphicFramePr>
            <a:graphicFrameLocks/>
          </p:cNvGraphicFramePr>
          <p:nvPr>
            <p:extLst>
              <p:ext uri="{D42A27DB-BD31-4B8C-83A1-F6EECF244321}">
                <p14:modId xmlns:p14="http://schemas.microsoft.com/office/powerpoint/2010/main" val="3243590860"/>
              </p:ext>
            </p:extLst>
          </p:nvPr>
        </p:nvGraphicFramePr>
        <p:xfrm>
          <a:off x="323603" y="1315305"/>
          <a:ext cx="10677819" cy="456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a:extLst>
              <a:ext uri="{FF2B5EF4-FFF2-40B4-BE49-F238E27FC236}">
                <a16:creationId xmlns:a16="http://schemas.microsoft.com/office/drawing/2014/main" id="{93298D07-BCD8-F1BF-7212-8855E11BA2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84963" y="3775841"/>
            <a:ext cx="2918985" cy="2900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434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D940C3-F261-7A11-DB59-E13F3141EC71}"/>
            </a:ext>
          </a:extLst>
        </p:cNvPr>
        <p:cNvGrpSpPr/>
        <p:nvPr/>
      </p:nvGrpSpPr>
      <p:grpSpPr>
        <a:xfrm>
          <a:off x="0" y="0"/>
          <a:ext cx="0" cy="0"/>
          <a:chOff x="0" y="0"/>
          <a:chExt cx="0" cy="0"/>
        </a:xfrm>
      </p:grpSpPr>
      <p:sp>
        <p:nvSpPr>
          <p:cNvPr id="5" name="Titel 3">
            <a:extLst>
              <a:ext uri="{FF2B5EF4-FFF2-40B4-BE49-F238E27FC236}">
                <a16:creationId xmlns:a16="http://schemas.microsoft.com/office/drawing/2014/main" id="{0C85B528-6B5B-6072-940F-024F3CEEB47D}"/>
              </a:ext>
            </a:extLst>
          </p:cNvPr>
          <p:cNvSpPr>
            <a:spLocks noGrp="1"/>
          </p:cNvSpPr>
          <p:nvPr>
            <p:ph type="title"/>
          </p:nvPr>
        </p:nvSpPr>
        <p:spPr>
          <a:xfrm>
            <a:off x="704851" y="701675"/>
            <a:ext cx="10801350" cy="449251"/>
          </a:xfrm>
        </p:spPr>
        <p:txBody>
          <a:bodyPr anchor="t">
            <a:noAutofit/>
          </a:bodyPr>
          <a:lstStyle/>
          <a:p>
            <a:r>
              <a:rPr lang="nl-NL" sz="3600"/>
              <a:t>Implementatie kwaliteitskader</a:t>
            </a:r>
          </a:p>
        </p:txBody>
      </p:sp>
      <p:graphicFrame>
        <p:nvGraphicFramePr>
          <p:cNvPr id="6" name="Tijdelijke aanduiding voor inhoud 4">
            <a:extLst>
              <a:ext uri="{FF2B5EF4-FFF2-40B4-BE49-F238E27FC236}">
                <a16:creationId xmlns:a16="http://schemas.microsoft.com/office/drawing/2014/main" id="{22590AA4-4534-75AA-D246-8FE0C74C506C}"/>
              </a:ext>
            </a:extLst>
          </p:cNvPr>
          <p:cNvGraphicFramePr>
            <a:graphicFrameLocks noGrp="1"/>
          </p:cNvGraphicFramePr>
          <p:nvPr>
            <p:ph sz="half" idx="1"/>
            <p:extLst>
              <p:ext uri="{D42A27DB-BD31-4B8C-83A1-F6EECF244321}">
                <p14:modId xmlns:p14="http://schemas.microsoft.com/office/powerpoint/2010/main" val="2015411656"/>
              </p:ext>
            </p:extLst>
          </p:nvPr>
        </p:nvGraphicFramePr>
        <p:xfrm>
          <a:off x="698741" y="1268413"/>
          <a:ext cx="10107803" cy="4562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01749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C1D36D-F2DB-2842-566F-0A0063BF1DC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CCDDB48-F02F-784B-80DF-8A76D4B6B93A}"/>
              </a:ext>
            </a:extLst>
          </p:cNvPr>
          <p:cNvSpPr>
            <a:spLocks noGrp="1"/>
          </p:cNvSpPr>
          <p:nvPr>
            <p:ph type="title"/>
          </p:nvPr>
        </p:nvSpPr>
        <p:spPr>
          <a:xfrm>
            <a:off x="698742" y="622979"/>
            <a:ext cx="10801350" cy="449251"/>
          </a:xfrm>
        </p:spPr>
        <p:txBody>
          <a:bodyPr anchor="t">
            <a:noAutofit/>
          </a:bodyPr>
          <a:lstStyle/>
          <a:p>
            <a:r>
              <a:rPr lang="nl-NL" sz="3600"/>
              <a:t>Opvallendheden</a:t>
            </a:r>
          </a:p>
        </p:txBody>
      </p:sp>
      <p:graphicFrame>
        <p:nvGraphicFramePr>
          <p:cNvPr id="3" name="Tijdelijke aanduiding voor inhoud 2">
            <a:extLst>
              <a:ext uri="{FF2B5EF4-FFF2-40B4-BE49-F238E27FC236}">
                <a16:creationId xmlns:a16="http://schemas.microsoft.com/office/drawing/2014/main" id="{87E07C37-81E9-78E9-E427-98EBC602D915}"/>
              </a:ext>
            </a:extLst>
          </p:cNvPr>
          <p:cNvGraphicFramePr>
            <a:graphicFrameLocks noGrp="1"/>
          </p:cNvGraphicFramePr>
          <p:nvPr>
            <p:ph sz="half" idx="1"/>
            <p:extLst>
              <p:ext uri="{D42A27DB-BD31-4B8C-83A1-F6EECF244321}">
                <p14:modId xmlns:p14="http://schemas.microsoft.com/office/powerpoint/2010/main" val="3726642360"/>
              </p:ext>
            </p:extLst>
          </p:nvPr>
        </p:nvGraphicFramePr>
        <p:xfrm>
          <a:off x="698742" y="1033153"/>
          <a:ext cx="9858422" cy="51390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5152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nchor="t">
            <a:normAutofit/>
          </a:bodyPr>
          <a:lstStyle/>
          <a:p>
            <a:r>
              <a:rPr lang="nl-NL" sz="3200"/>
              <a:t>Agenda</a:t>
            </a:r>
            <a:endParaRPr lang="nl-NL" sz="3200">
              <a:highlight>
                <a:srgbClr val="FFFF00"/>
              </a:highlight>
            </a:endParaRPr>
          </a:p>
        </p:txBody>
      </p:sp>
      <p:sp>
        <p:nvSpPr>
          <p:cNvPr id="12" name="Date Placeholder 4">
            <a:extLst>
              <a:ext uri="{FF2B5EF4-FFF2-40B4-BE49-F238E27FC236}">
                <a16:creationId xmlns:a16="http://schemas.microsoft.com/office/drawing/2014/main" id="{D20F732B-CCEB-6FF7-38A7-0E6F2130E570}"/>
              </a:ext>
            </a:extLst>
          </p:cNvPr>
          <p:cNvSpPr>
            <a:spLocks noGrp="1"/>
          </p:cNvSpPr>
          <p:nvPr>
            <p:ph type="dt" sz="half" idx="10"/>
          </p:nvPr>
        </p:nvSpPr>
        <p:spPr/>
        <p:txBody>
          <a:bodyPr/>
          <a:lstStyle/>
          <a:p>
            <a:fld id="{383C0797-79AE-48B0-A2B6-7B046B69A790}" type="datetime1">
              <a:rPr lang="nl-NL" smtClean="0"/>
              <a:pPr/>
              <a:t>16-6-2025</a:t>
            </a:fld>
            <a:endParaRPr lang="nl-NL"/>
          </a:p>
        </p:txBody>
      </p:sp>
      <p:graphicFrame>
        <p:nvGraphicFramePr>
          <p:cNvPr id="13" name="Tijdelijke aanduiding voor inhoud 7">
            <a:extLst>
              <a:ext uri="{FF2B5EF4-FFF2-40B4-BE49-F238E27FC236}">
                <a16:creationId xmlns:a16="http://schemas.microsoft.com/office/drawing/2014/main" id="{77E98E16-48CA-A42A-4E1A-8BFF4FB6F660}"/>
              </a:ext>
            </a:extLst>
          </p:cNvPr>
          <p:cNvGraphicFramePr>
            <a:graphicFrameLocks noGrp="1"/>
          </p:cNvGraphicFramePr>
          <p:nvPr>
            <p:ph sz="half" idx="4294967295"/>
            <p:extLst>
              <p:ext uri="{D42A27DB-BD31-4B8C-83A1-F6EECF244321}">
                <p14:modId xmlns:p14="http://schemas.microsoft.com/office/powerpoint/2010/main" val="2588599261"/>
              </p:ext>
            </p:extLst>
          </p:nvPr>
        </p:nvGraphicFramePr>
        <p:xfrm>
          <a:off x="940904" y="1440690"/>
          <a:ext cx="7244246" cy="4589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Tijdelijke aanduiding voor inhoud 5" descr="Afbeelding met zoogdier, primaat, aap, Apen van de Oude Wereld&#10;&#10;Door AI gegenereerde inhoud is mogelijk onjuist.">
            <a:extLst>
              <a:ext uri="{FF2B5EF4-FFF2-40B4-BE49-F238E27FC236}">
                <a16:creationId xmlns:a16="http://schemas.microsoft.com/office/drawing/2014/main" id="{FDAB6331-4FFE-FD52-B129-620EAE3ED1DD}"/>
              </a:ext>
            </a:extLst>
          </p:cNvPr>
          <p:cNvPicPr>
            <a:picLocks noGrp="1" noChangeAspect="1"/>
          </p:cNvPicPr>
          <p:nvPr>
            <p:ph sz="half" idx="4294967295"/>
          </p:nvPr>
        </p:nvPicPr>
        <p:blipFill>
          <a:blip r:embed="rId8">
            <a:extLst>
              <a:ext uri="{28A0092B-C50C-407E-A947-70E740481C1C}">
                <a14:useLocalDpi xmlns:a14="http://schemas.microsoft.com/office/drawing/2010/main" val="0"/>
              </a:ext>
            </a:extLst>
          </a:blip>
          <a:stretch>
            <a:fillRect/>
          </a:stretch>
        </p:blipFill>
        <p:spPr>
          <a:xfrm>
            <a:off x="8361939" y="4149551"/>
            <a:ext cx="3144262" cy="2092499"/>
          </a:xfrm>
        </p:spPr>
      </p:pic>
    </p:spTree>
    <p:extLst>
      <p:ext uri="{BB962C8B-B14F-4D97-AF65-F5344CB8AC3E}">
        <p14:creationId xmlns:p14="http://schemas.microsoft.com/office/powerpoint/2010/main" val="29792462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47C6F-B183-FC1F-B75B-73AD9861F909}"/>
            </a:ext>
          </a:extLst>
        </p:cNvPr>
        <p:cNvGrpSpPr/>
        <p:nvPr/>
      </p:nvGrpSpPr>
      <p:grpSpPr>
        <a:xfrm>
          <a:off x="0" y="0"/>
          <a:ext cx="0" cy="0"/>
          <a:chOff x="0" y="0"/>
          <a:chExt cx="0" cy="0"/>
        </a:xfrm>
      </p:grpSpPr>
      <p:graphicFrame>
        <p:nvGraphicFramePr>
          <p:cNvPr id="9" name="Tijdelijke aanduiding voor inhoud 2">
            <a:extLst>
              <a:ext uri="{FF2B5EF4-FFF2-40B4-BE49-F238E27FC236}">
                <a16:creationId xmlns:a16="http://schemas.microsoft.com/office/drawing/2014/main" id="{73DE3FEC-384F-2FA8-23DD-CA393FB5E8C9}"/>
              </a:ext>
            </a:extLst>
          </p:cNvPr>
          <p:cNvGraphicFramePr>
            <a:graphicFrameLocks/>
          </p:cNvGraphicFramePr>
          <p:nvPr>
            <p:extLst>
              <p:ext uri="{D42A27DB-BD31-4B8C-83A1-F6EECF244321}">
                <p14:modId xmlns:p14="http://schemas.microsoft.com/office/powerpoint/2010/main" val="3050993509"/>
              </p:ext>
            </p:extLst>
          </p:nvPr>
        </p:nvGraphicFramePr>
        <p:xfrm>
          <a:off x="6366773" y="1705818"/>
          <a:ext cx="5218112" cy="36906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Tijdelijke aanduiding voor inhoud 4">
            <a:extLst>
              <a:ext uri="{FF2B5EF4-FFF2-40B4-BE49-F238E27FC236}">
                <a16:creationId xmlns:a16="http://schemas.microsoft.com/office/drawing/2014/main" id="{B04025D6-D35A-DF9A-38DF-058691F05876}"/>
              </a:ext>
            </a:extLst>
          </p:cNvPr>
          <p:cNvPicPr>
            <a:picLocks noGrp="1" noChangeAspect="1"/>
          </p:cNvPicPr>
          <p:nvPr>
            <p:ph sz="half" idx="1"/>
          </p:nvPr>
        </p:nvPicPr>
        <p:blipFill>
          <a:blip r:embed="rId8"/>
          <a:stretch>
            <a:fillRect/>
          </a:stretch>
        </p:blipFill>
        <p:spPr>
          <a:xfrm>
            <a:off x="698500" y="1703737"/>
            <a:ext cx="5218113" cy="3691827"/>
          </a:xfrm>
          <a:prstGeom prst="rect">
            <a:avLst/>
          </a:prstGeom>
        </p:spPr>
      </p:pic>
      <p:sp>
        <p:nvSpPr>
          <p:cNvPr id="2" name="Titel 1">
            <a:extLst>
              <a:ext uri="{FF2B5EF4-FFF2-40B4-BE49-F238E27FC236}">
                <a16:creationId xmlns:a16="http://schemas.microsoft.com/office/drawing/2014/main" id="{5B8FB745-F37C-C156-3CBC-2C967C964E49}"/>
              </a:ext>
            </a:extLst>
          </p:cNvPr>
          <p:cNvSpPr>
            <a:spLocks noGrp="1"/>
          </p:cNvSpPr>
          <p:nvPr>
            <p:ph type="title"/>
          </p:nvPr>
        </p:nvSpPr>
        <p:spPr>
          <a:xfrm>
            <a:off x="704851" y="701675"/>
            <a:ext cx="10801350" cy="449251"/>
          </a:xfrm>
        </p:spPr>
        <p:txBody>
          <a:bodyPr anchor="t">
            <a:noAutofit/>
          </a:bodyPr>
          <a:lstStyle/>
          <a:p>
            <a:pPr algn="ctr"/>
            <a:r>
              <a:rPr lang="nl-NL" sz="3600"/>
              <a:t>Reflectie</a:t>
            </a:r>
          </a:p>
        </p:txBody>
      </p:sp>
    </p:spTree>
    <p:extLst>
      <p:ext uri="{BB962C8B-B14F-4D97-AF65-F5344CB8AC3E}">
        <p14:creationId xmlns:p14="http://schemas.microsoft.com/office/powerpoint/2010/main" val="12708442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6D626-E82C-5F08-2981-72BCC2D3F11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550E28-724C-A720-C4D7-22C77EBE592A}"/>
              </a:ext>
            </a:extLst>
          </p:cNvPr>
          <p:cNvSpPr>
            <a:spLocks noGrp="1"/>
          </p:cNvSpPr>
          <p:nvPr>
            <p:ph type="title"/>
          </p:nvPr>
        </p:nvSpPr>
        <p:spPr>
          <a:xfrm>
            <a:off x="704851" y="701675"/>
            <a:ext cx="10801350" cy="449251"/>
          </a:xfrm>
        </p:spPr>
        <p:txBody>
          <a:bodyPr anchor="t">
            <a:noAutofit/>
          </a:bodyPr>
          <a:lstStyle/>
          <a:p>
            <a:r>
              <a:rPr kumimoji="0" lang="nl-NL" sz="3600" b="0" i="0" u="none" strike="noStrike" kern="1200" cap="none" spc="0" normalizeH="0" baseline="0" noProof="0">
                <a:ln>
                  <a:noFill/>
                </a:ln>
                <a:effectLst/>
                <a:uLnTx/>
                <a:uFillTx/>
              </a:rPr>
              <a:t>Missie</a:t>
            </a:r>
            <a:endParaRPr lang="nl-NL" sz="3600" noProof="0"/>
          </a:p>
        </p:txBody>
      </p:sp>
      <p:sp>
        <p:nvSpPr>
          <p:cNvPr id="4" name="Tijdelijke aanduiding voor inhoud 2">
            <a:extLst>
              <a:ext uri="{FF2B5EF4-FFF2-40B4-BE49-F238E27FC236}">
                <a16:creationId xmlns:a16="http://schemas.microsoft.com/office/drawing/2014/main" id="{A0F7ADC7-7F35-5FDA-B428-8767A64E7939}"/>
              </a:ext>
            </a:extLst>
          </p:cNvPr>
          <p:cNvSpPr txBox="1">
            <a:spLocks/>
          </p:cNvSpPr>
          <p:nvPr/>
        </p:nvSpPr>
        <p:spPr>
          <a:xfrm>
            <a:off x="813378" y="1519123"/>
            <a:ext cx="9683172" cy="4552950"/>
          </a:xfrm>
          <a:prstGeom prst="rect">
            <a:avLst/>
          </a:prstGeom>
        </p:spPr>
        <p:txBody>
          <a:bodyPr vert="horz" lIns="0" tIns="0" rIns="0" bIns="0" rtlCol="0">
            <a:norm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2000"/>
              <a:t>Het Netwerk wil als regionale Netwerkorganisatie een </a:t>
            </a:r>
            <a:r>
              <a:rPr lang="nl-NL" sz="2000">
                <a:solidFill>
                  <a:schemeClr val="accent6">
                    <a:lumMod val="90000"/>
                  </a:schemeClr>
                </a:solidFill>
              </a:rPr>
              <a:t>optimale samenhang en samenwerking bevorderen tussen beroepsmatig en vrijwillig betrokken aanbieders en professionals</a:t>
            </a:r>
            <a:r>
              <a:rPr lang="nl-NL" sz="2000"/>
              <a:t> uit de zorg- en welzijnssector in de palliatieve zorg in de regio Gelderse Vallei. </a:t>
            </a:r>
          </a:p>
          <a:p>
            <a:pPr marL="0" indent="0">
              <a:buNone/>
            </a:pPr>
            <a:r>
              <a:rPr lang="nl-NL" sz="2000"/>
              <a:t>De hieruit voortvloeiende palliatieve netwerkzorg bieden we op individueel niveau aan zorgvrager en naasten waarbij het Kwaliteitskader Palliatieve Zorg leidend is.</a:t>
            </a:r>
          </a:p>
          <a:p>
            <a:pPr marL="0" indent="0" fontAlgn="base">
              <a:spcAft>
                <a:spcPts val="600"/>
              </a:spcAft>
              <a:buFont typeface="Arial" panose="020B0604020202020204" pitchFamily="34" charset="0"/>
              <a:buNone/>
              <a:defRPr/>
            </a:pPr>
            <a:endParaRPr lang="nl-NL"/>
          </a:p>
          <a:p>
            <a:pPr marL="0" indent="0" fontAlgn="base">
              <a:spcAft>
                <a:spcPts val="600"/>
              </a:spcAft>
              <a:buFont typeface="Arial" panose="020B0604020202020204" pitchFamily="34" charset="0"/>
              <a:buNone/>
              <a:defRPr/>
            </a:pPr>
            <a:endParaRPr lang="nl-NL"/>
          </a:p>
          <a:p>
            <a:pPr>
              <a:spcAft>
                <a:spcPts val="600"/>
              </a:spcAft>
            </a:pPr>
            <a:endParaRPr lang="nl-NL"/>
          </a:p>
          <a:p>
            <a:pPr marL="0" indent="0">
              <a:spcAft>
                <a:spcPts val="600"/>
              </a:spcAft>
              <a:buFont typeface="Arial" panose="020B0604020202020204" pitchFamily="34" charset="0"/>
              <a:buNone/>
            </a:pPr>
            <a:endParaRPr lang="nl-NL"/>
          </a:p>
          <a:p>
            <a:pPr marL="0" indent="0">
              <a:spcAft>
                <a:spcPts val="600"/>
              </a:spcAft>
              <a:buFont typeface="Arial" panose="020B0604020202020204" pitchFamily="34" charset="0"/>
              <a:buNone/>
            </a:pPr>
            <a:endParaRPr lang="nl-NL"/>
          </a:p>
        </p:txBody>
      </p:sp>
    </p:spTree>
    <p:extLst>
      <p:ext uri="{BB962C8B-B14F-4D97-AF65-F5344CB8AC3E}">
        <p14:creationId xmlns:p14="http://schemas.microsoft.com/office/powerpoint/2010/main" val="28318338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16F3D0-DE95-D2E9-368C-FAB49816CF5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990913D1-CF88-8A9C-D08C-33DCE7A21A3F}"/>
              </a:ext>
            </a:extLst>
          </p:cNvPr>
          <p:cNvSpPr>
            <a:spLocks noGrp="1"/>
          </p:cNvSpPr>
          <p:nvPr>
            <p:ph type="title"/>
          </p:nvPr>
        </p:nvSpPr>
        <p:spPr>
          <a:xfrm>
            <a:off x="704851" y="701675"/>
            <a:ext cx="10801350" cy="449251"/>
          </a:xfrm>
        </p:spPr>
        <p:txBody>
          <a:bodyPr anchor="t">
            <a:noAutofit/>
          </a:bodyPr>
          <a:lstStyle/>
          <a:p>
            <a:r>
              <a:rPr kumimoji="0" lang="nl-NL" sz="3600" b="0" i="0" u="none" strike="noStrike" kern="1200" cap="none" spc="0" normalizeH="0" baseline="0" noProof="0">
                <a:ln>
                  <a:noFill/>
                </a:ln>
                <a:effectLst/>
                <a:uLnTx/>
                <a:uFillTx/>
              </a:rPr>
              <a:t>Visie</a:t>
            </a:r>
            <a:endParaRPr lang="nl-NL" sz="3600" noProof="0"/>
          </a:p>
        </p:txBody>
      </p:sp>
      <p:sp>
        <p:nvSpPr>
          <p:cNvPr id="4" name="Tijdelijke aanduiding voor inhoud 2">
            <a:extLst>
              <a:ext uri="{FF2B5EF4-FFF2-40B4-BE49-F238E27FC236}">
                <a16:creationId xmlns:a16="http://schemas.microsoft.com/office/drawing/2014/main" id="{C504F5BC-3335-B50F-4EF6-D8C96F962B99}"/>
              </a:ext>
            </a:extLst>
          </p:cNvPr>
          <p:cNvSpPr txBox="1">
            <a:spLocks/>
          </p:cNvSpPr>
          <p:nvPr/>
        </p:nvSpPr>
        <p:spPr>
          <a:xfrm>
            <a:off x="794328" y="1246072"/>
            <a:ext cx="10515022" cy="5154727"/>
          </a:xfrm>
          <a:prstGeom prst="rect">
            <a:avLst/>
          </a:prstGeom>
        </p:spPr>
        <p:txBody>
          <a:bodyPr vert="horz" lIns="0" tIns="0" rIns="0" bIns="0" rtlCol="0">
            <a:norm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t>Het bieden van </a:t>
            </a:r>
            <a:r>
              <a:rPr lang="nl-NL" sz="1800" b="1">
                <a:solidFill>
                  <a:schemeClr val="accent6">
                    <a:lumMod val="90000"/>
                  </a:schemeClr>
                </a:solidFill>
              </a:rPr>
              <a:t>kwalitatief goede en toegankelijke palliatieve zorg</a:t>
            </a:r>
            <a:r>
              <a:rPr lang="nl-NL" sz="1800"/>
              <a:t> voor alle zorgvragers en hun naasten, op de gewenste locatie is hierbij uitgangspunt. </a:t>
            </a:r>
          </a:p>
          <a:p>
            <a:pPr marL="0" indent="0">
              <a:buNone/>
            </a:pPr>
            <a:endParaRPr lang="nl-NL" sz="1800"/>
          </a:p>
          <a:p>
            <a:pPr marL="0" indent="0">
              <a:buNone/>
            </a:pPr>
            <a:r>
              <a:rPr lang="nl-NL" sz="1800"/>
              <a:t>De geboden zorg gaat uit van </a:t>
            </a:r>
            <a:r>
              <a:rPr lang="nl-NL" sz="1800" b="1">
                <a:solidFill>
                  <a:schemeClr val="accent6">
                    <a:lumMod val="90000"/>
                  </a:schemeClr>
                </a:solidFill>
              </a:rPr>
              <a:t>de behoeften van de zorgvrager en naasten</a:t>
            </a:r>
            <a:r>
              <a:rPr lang="nl-NL" sz="1800"/>
              <a:t>, en komt tot stand door optimale afstemming tussen de zorgvrager, aanbieders van zorg en welzijn, mantelzorgers en vrijwilligers (continuüm van vertrouwen). </a:t>
            </a:r>
          </a:p>
          <a:p>
            <a:pPr marL="0" indent="0">
              <a:buNone/>
            </a:pPr>
            <a:endParaRPr lang="nl-NL" sz="1800"/>
          </a:p>
          <a:p>
            <a:pPr marL="0" indent="0">
              <a:buNone/>
            </a:pPr>
            <a:r>
              <a:rPr lang="nl-NL" sz="1800"/>
              <a:t>De doelgroep van de Netwerkpartners zijn de zorgvragers met een ongeneeslijke ziekte, waarbij curatieve behandeling niet meer zinvol is, evenals de naaste familie en andere mantelzorgers. </a:t>
            </a:r>
          </a:p>
          <a:p>
            <a:pPr marL="0" indent="0">
              <a:buNone/>
            </a:pPr>
            <a:endParaRPr lang="nl-NL" sz="1800"/>
          </a:p>
          <a:p>
            <a:pPr marL="0" indent="0">
              <a:buNone/>
            </a:pPr>
            <a:r>
              <a:rPr lang="nl-NL" sz="1800"/>
              <a:t>Het Netwerk richt zich bij haar activiteiten voornamelijk op de in de zorg- en welzijnssector betrokken professionals en vrijwilligers. </a:t>
            </a:r>
          </a:p>
          <a:p>
            <a:pPr marL="0" indent="0">
              <a:buNone/>
            </a:pPr>
            <a:endParaRPr lang="nl-NL" sz="1800"/>
          </a:p>
          <a:p>
            <a:pPr marL="0" indent="0">
              <a:buNone/>
            </a:pPr>
            <a:r>
              <a:rPr lang="nl-NL" sz="1800"/>
              <a:t>Deelnemende organisaties richten zich op een </a:t>
            </a:r>
            <a:r>
              <a:rPr lang="nl-NL" sz="1800" b="1">
                <a:solidFill>
                  <a:schemeClr val="accent6">
                    <a:lumMod val="90000"/>
                  </a:schemeClr>
                </a:solidFill>
              </a:rPr>
              <a:t>compleet, samenhangend en dekkend aanbod van palliatieve zorg van verantwoorde kwaliteit </a:t>
            </a:r>
            <a:r>
              <a:rPr lang="nl-NL" sz="1800"/>
              <a:t>(Kwaliteitskader PZ Nederland 2017) passend bij het organisatietype.</a:t>
            </a:r>
          </a:p>
          <a:p>
            <a:pPr marL="0" indent="0" fontAlgn="base">
              <a:spcAft>
                <a:spcPts val="600"/>
              </a:spcAft>
              <a:buFont typeface="Arial" panose="020B0604020202020204" pitchFamily="34" charset="0"/>
              <a:buNone/>
              <a:defRPr/>
            </a:pPr>
            <a:endParaRPr lang="nl-NL"/>
          </a:p>
          <a:p>
            <a:pPr marL="0" indent="0" fontAlgn="base">
              <a:spcAft>
                <a:spcPts val="600"/>
              </a:spcAft>
              <a:buFont typeface="Arial" panose="020B0604020202020204" pitchFamily="34" charset="0"/>
              <a:buNone/>
              <a:defRPr/>
            </a:pPr>
            <a:endParaRPr lang="nl-NL"/>
          </a:p>
          <a:p>
            <a:pPr>
              <a:spcAft>
                <a:spcPts val="600"/>
              </a:spcAft>
            </a:pPr>
            <a:endParaRPr lang="nl-NL"/>
          </a:p>
          <a:p>
            <a:pPr marL="0" indent="0">
              <a:spcAft>
                <a:spcPts val="600"/>
              </a:spcAft>
              <a:buFont typeface="Arial" panose="020B0604020202020204" pitchFamily="34" charset="0"/>
              <a:buNone/>
            </a:pPr>
            <a:endParaRPr lang="nl-NL"/>
          </a:p>
          <a:p>
            <a:pPr marL="0" indent="0">
              <a:spcAft>
                <a:spcPts val="600"/>
              </a:spcAft>
              <a:buFont typeface="Arial" panose="020B0604020202020204" pitchFamily="34" charset="0"/>
              <a:buNone/>
            </a:pPr>
            <a:endParaRPr lang="nl-NL"/>
          </a:p>
        </p:txBody>
      </p:sp>
    </p:spTree>
    <p:extLst>
      <p:ext uri="{BB962C8B-B14F-4D97-AF65-F5344CB8AC3E}">
        <p14:creationId xmlns:p14="http://schemas.microsoft.com/office/powerpoint/2010/main" val="111453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1C31F-8908-4AB6-5E88-1F47E5F3FF7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C8D0014-2BB2-5328-7D8F-27A6DBEB4674}"/>
              </a:ext>
            </a:extLst>
          </p:cNvPr>
          <p:cNvSpPr>
            <a:spLocks noGrp="1"/>
          </p:cNvSpPr>
          <p:nvPr>
            <p:ph type="title"/>
          </p:nvPr>
        </p:nvSpPr>
        <p:spPr>
          <a:xfrm>
            <a:off x="704851" y="701675"/>
            <a:ext cx="10801350" cy="449251"/>
          </a:xfrm>
        </p:spPr>
        <p:txBody>
          <a:bodyPr anchor="t">
            <a:normAutofit fontScale="90000"/>
          </a:bodyPr>
          <a:lstStyle/>
          <a:p>
            <a:r>
              <a:rPr lang="nl-NL" sz="3600"/>
              <a:t>Vier pijlers</a:t>
            </a:r>
            <a:r>
              <a:rPr lang="nl-NL" sz="3600">
                <a:solidFill>
                  <a:srgbClr val="FF0000"/>
                </a:solidFill>
              </a:rPr>
              <a:t> </a:t>
            </a:r>
            <a:endParaRPr lang="nl-NL" sz="3600"/>
          </a:p>
        </p:txBody>
      </p:sp>
      <p:graphicFrame>
        <p:nvGraphicFramePr>
          <p:cNvPr id="3" name="Tijdelijke aanduiding voor inhoud 2">
            <a:extLst>
              <a:ext uri="{FF2B5EF4-FFF2-40B4-BE49-F238E27FC236}">
                <a16:creationId xmlns:a16="http://schemas.microsoft.com/office/drawing/2014/main" id="{3F5D3C50-6610-74E7-6681-732CDF0F81A5}"/>
              </a:ext>
            </a:extLst>
          </p:cNvPr>
          <p:cNvGraphicFramePr>
            <a:graphicFrameLocks noGrp="1"/>
          </p:cNvGraphicFramePr>
          <p:nvPr>
            <p:ph sz="half" idx="1"/>
            <p:extLst>
              <p:ext uri="{D42A27DB-BD31-4B8C-83A1-F6EECF244321}">
                <p14:modId xmlns:p14="http://schemas.microsoft.com/office/powerpoint/2010/main" val="490908359"/>
              </p:ext>
            </p:extLst>
          </p:nvPr>
        </p:nvGraphicFramePr>
        <p:xfrm>
          <a:off x="698742" y="1380771"/>
          <a:ext cx="10801350" cy="48927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49244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7F597-1EEB-25DF-421F-67EE7777294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C8DE365-A1CA-3ED6-F4F2-7BED38522C86}"/>
              </a:ext>
            </a:extLst>
          </p:cNvPr>
          <p:cNvSpPr>
            <a:spLocks noGrp="1"/>
          </p:cNvSpPr>
          <p:nvPr>
            <p:ph type="title"/>
          </p:nvPr>
        </p:nvSpPr>
        <p:spPr>
          <a:xfrm>
            <a:off x="704851" y="701675"/>
            <a:ext cx="10801350" cy="449251"/>
          </a:xfrm>
        </p:spPr>
        <p:txBody>
          <a:bodyPr anchor="t">
            <a:noAutofit/>
          </a:bodyPr>
          <a:lstStyle/>
          <a:p>
            <a:r>
              <a:rPr kumimoji="0" lang="nl-NL" sz="3600" b="0" i="0" u="none" strike="noStrike" kern="1200" cap="none" spc="0" normalizeH="0" baseline="0" noProof="0">
                <a:ln>
                  <a:noFill/>
                </a:ln>
                <a:effectLst/>
                <a:uLnTx/>
                <a:uFillTx/>
              </a:rPr>
              <a:t>Discussie</a:t>
            </a:r>
            <a:endParaRPr lang="nl-NL" sz="3600" noProof="0"/>
          </a:p>
        </p:txBody>
      </p:sp>
      <p:sp>
        <p:nvSpPr>
          <p:cNvPr id="4" name="Tijdelijke aanduiding voor inhoud 2">
            <a:extLst>
              <a:ext uri="{FF2B5EF4-FFF2-40B4-BE49-F238E27FC236}">
                <a16:creationId xmlns:a16="http://schemas.microsoft.com/office/drawing/2014/main" id="{FF1FD81E-5F2E-0F8D-BAC0-F4556047F689}"/>
              </a:ext>
            </a:extLst>
          </p:cNvPr>
          <p:cNvSpPr txBox="1">
            <a:spLocks/>
          </p:cNvSpPr>
          <p:nvPr/>
        </p:nvSpPr>
        <p:spPr>
          <a:xfrm>
            <a:off x="704017" y="1302516"/>
            <a:ext cx="10515022" cy="5154727"/>
          </a:xfrm>
          <a:prstGeom prst="rect">
            <a:avLst/>
          </a:prstGeom>
        </p:spPr>
        <p:txBody>
          <a:bodyPr vert="horz" lIns="0" tIns="0" rIns="0" bIns="0" rtlCol="0" anchor="t">
            <a:norm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287655" indent="-287655" fontAlgn="base">
              <a:spcAft>
                <a:spcPts val="600"/>
              </a:spcAft>
              <a:buFontTx/>
              <a:buChar char="-"/>
              <a:defRPr/>
            </a:pPr>
            <a:r>
              <a:rPr lang="nl-NL"/>
              <a:t>Wat kunnen we doen om onze resultaten beter te delen en te vieren, zowel binnen als buiten het netwerk?</a:t>
            </a:r>
          </a:p>
          <a:p>
            <a:pPr marL="287655" indent="-287655" fontAlgn="base">
              <a:spcAft>
                <a:spcPts val="600"/>
              </a:spcAft>
              <a:buFontTx/>
              <a:buChar char="-"/>
              <a:defRPr/>
            </a:pPr>
            <a:r>
              <a:rPr lang="nl-NL"/>
              <a:t>Wat zien wij als opdracht voor het netwerk? Is deze opdracht breder dan het kwaliteitskader? </a:t>
            </a:r>
          </a:p>
          <a:p>
            <a:pPr marL="0" indent="0" fontAlgn="base">
              <a:spcAft>
                <a:spcPts val="600"/>
              </a:spcAft>
              <a:buNone/>
              <a:defRPr/>
            </a:pPr>
            <a:endParaRPr lang="nl-NL"/>
          </a:p>
          <a:p>
            <a:pPr marL="287655" indent="-287655" fontAlgn="base">
              <a:spcAft>
                <a:spcPts val="600"/>
              </a:spcAft>
              <a:buFontTx/>
              <a:buChar char="-"/>
              <a:defRPr/>
            </a:pPr>
            <a:r>
              <a:rPr lang="nl-NL"/>
              <a:t>En wat betekent dat voor de netwerksamenwerking?</a:t>
            </a:r>
            <a:endParaRPr lang="nl-NL">
              <a:cs typeface="Poppins"/>
            </a:endParaRPr>
          </a:p>
          <a:p>
            <a:pPr marL="863600" lvl="2" indent="-287655" fontAlgn="base">
              <a:spcAft>
                <a:spcPts val="600"/>
              </a:spcAft>
              <a:buFont typeface="Wingdings" panose="05000000000000000000" pitchFamily="2" charset="2"/>
              <a:buChar char="§"/>
              <a:defRPr/>
            </a:pPr>
            <a:r>
              <a:rPr lang="nl-NL"/>
              <a:t>Wat zijn de kernpartners? Hoe betrekken we het sociaal domein?</a:t>
            </a:r>
            <a:endParaRPr lang="nl-NL">
              <a:cs typeface="Poppins"/>
            </a:endParaRPr>
          </a:p>
          <a:p>
            <a:pPr marL="863600" lvl="2" indent="-287655" fontAlgn="base">
              <a:spcAft>
                <a:spcPts val="600"/>
              </a:spcAft>
              <a:buFont typeface="Wingdings" panose="05000000000000000000" pitchFamily="2" charset="2"/>
              <a:buChar char="§"/>
              <a:defRPr/>
            </a:pPr>
            <a:r>
              <a:rPr lang="nl-NL"/>
              <a:t>Wie is onze doelgroep: je 'eigen' patiënten, of de inwoners in de palliatieve fase van de regio?</a:t>
            </a:r>
          </a:p>
          <a:p>
            <a:pPr marL="863600" lvl="2" indent="-287655" fontAlgn="base">
              <a:spcAft>
                <a:spcPts val="600"/>
              </a:spcAft>
              <a:buFont typeface="Wingdings" panose="05000000000000000000" pitchFamily="2" charset="2"/>
              <a:buChar char="§"/>
              <a:defRPr/>
            </a:pPr>
            <a:r>
              <a:rPr lang="nl-NL"/>
              <a:t>Hoe werken met elkaar samen, zijn we bereid om met elkaar kennis, capaciteit en middelen te delen, of zien we elkaar als </a:t>
            </a:r>
            <a:r>
              <a:rPr lang="nl-NL" err="1"/>
              <a:t>concollega's</a:t>
            </a:r>
            <a:r>
              <a:rPr lang="nl-NL"/>
              <a:t>? Kunnen we elkaar aanvullen of beconcurreren we elkaar?  Bijvoorbeeld:</a:t>
            </a:r>
          </a:p>
          <a:p>
            <a:pPr marL="863600" lvl="2" indent="-287655">
              <a:spcAft>
                <a:spcPts val="600"/>
              </a:spcAft>
              <a:buFont typeface="Wingdings" panose="05000000000000000000" pitchFamily="2" charset="2"/>
              <a:buChar char="ü"/>
              <a:defRPr/>
            </a:pPr>
            <a:r>
              <a:rPr lang="nl-NL"/>
              <a:t>Delen we elkaars kennis en expertise</a:t>
            </a:r>
          </a:p>
          <a:p>
            <a:pPr marL="863600" lvl="2" indent="-287655">
              <a:spcAft>
                <a:spcPts val="600"/>
              </a:spcAft>
              <a:buClr>
                <a:srgbClr val="FF89BC"/>
              </a:buClr>
              <a:buFont typeface="Wingdings" panose="05000000000000000000" pitchFamily="2" charset="2"/>
              <a:buChar char="ü"/>
              <a:defRPr/>
            </a:pPr>
            <a:r>
              <a:rPr lang="nl-NL"/>
              <a:t>Werken we samen in de consultatievoorziening in de regio, of doen we dit ieder voor zich</a:t>
            </a:r>
          </a:p>
          <a:p>
            <a:pPr marL="863600" lvl="2" indent="-287655">
              <a:spcAft>
                <a:spcPts val="600"/>
              </a:spcAft>
              <a:buClr>
                <a:srgbClr val="FF89BC"/>
              </a:buClr>
              <a:buFont typeface="Wingdings" panose="05000000000000000000" pitchFamily="2" charset="2"/>
              <a:buChar char="ü"/>
              <a:defRPr/>
            </a:pPr>
            <a:r>
              <a:rPr lang="nl-NL"/>
              <a:t>Zorgen we ervoor, dat alle inwoners in de regio dezelfde kwaliteit van zorg en ondersteuning ervaren</a:t>
            </a:r>
          </a:p>
          <a:p>
            <a:pPr marL="575945" lvl="2" indent="0">
              <a:spcAft>
                <a:spcPts val="600"/>
              </a:spcAft>
              <a:buClr>
                <a:srgbClr val="FF89BC"/>
              </a:buClr>
              <a:buNone/>
              <a:defRPr/>
            </a:pPr>
            <a:endParaRPr lang="nl-NL"/>
          </a:p>
          <a:p>
            <a:pPr marL="287655" indent="-287655" fontAlgn="base">
              <a:spcAft>
                <a:spcPts val="600"/>
              </a:spcAft>
              <a:buFontTx/>
              <a:buChar char="-"/>
              <a:defRPr/>
            </a:pPr>
            <a:r>
              <a:rPr lang="nl-NL"/>
              <a:t>Hoe kunnen we het netwerk anders organiseren, om meer impact te hebben en te sturen op het prioriteren van activiteiten? </a:t>
            </a:r>
          </a:p>
          <a:p>
            <a:pPr marL="0" indent="0" fontAlgn="base">
              <a:spcAft>
                <a:spcPts val="600"/>
              </a:spcAft>
              <a:buNone/>
              <a:defRPr/>
            </a:pPr>
            <a:endParaRPr lang="nl-NL"/>
          </a:p>
          <a:p>
            <a:pPr marL="0" indent="0" fontAlgn="base">
              <a:spcAft>
                <a:spcPts val="600"/>
              </a:spcAft>
              <a:buNone/>
              <a:defRPr/>
            </a:pPr>
            <a:endParaRPr lang="nl-NL">
              <a:solidFill>
                <a:srgbClr val="173395"/>
              </a:solidFill>
              <a:cs typeface="Poppins"/>
            </a:endParaRPr>
          </a:p>
          <a:p>
            <a:pPr marL="287655" indent="-287655">
              <a:spcAft>
                <a:spcPts val="600"/>
              </a:spcAft>
            </a:pPr>
            <a:endParaRPr lang="nl-NL">
              <a:cs typeface="Poppins"/>
            </a:endParaRPr>
          </a:p>
          <a:p>
            <a:pPr marL="0" indent="0">
              <a:spcAft>
                <a:spcPts val="600"/>
              </a:spcAft>
              <a:buFont typeface="Arial" panose="020B0604020202020204" pitchFamily="34" charset="0"/>
              <a:buNone/>
              <a:defRPr/>
            </a:pPr>
            <a:endParaRPr lang="nl-NL">
              <a:cs typeface="Poppins"/>
            </a:endParaRPr>
          </a:p>
          <a:p>
            <a:pPr marL="0" indent="0">
              <a:spcAft>
                <a:spcPts val="600"/>
              </a:spcAft>
              <a:buNone/>
            </a:pPr>
            <a:endParaRPr lang="nl-NL">
              <a:cs typeface="Poppins"/>
            </a:endParaRPr>
          </a:p>
        </p:txBody>
      </p:sp>
    </p:spTree>
    <p:extLst>
      <p:ext uri="{BB962C8B-B14F-4D97-AF65-F5344CB8AC3E}">
        <p14:creationId xmlns:p14="http://schemas.microsoft.com/office/powerpoint/2010/main" val="1640611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5378D-B2D7-602E-28DD-975373DF683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ECB55D8-5233-28B5-74D5-61FD9F33D2C4}"/>
              </a:ext>
            </a:extLst>
          </p:cNvPr>
          <p:cNvSpPr>
            <a:spLocks noGrp="1"/>
          </p:cNvSpPr>
          <p:nvPr>
            <p:ph type="title"/>
          </p:nvPr>
        </p:nvSpPr>
        <p:spPr>
          <a:xfrm>
            <a:off x="704851" y="701675"/>
            <a:ext cx="10801350" cy="449251"/>
          </a:xfrm>
        </p:spPr>
        <p:txBody>
          <a:bodyPr anchor="t">
            <a:noAutofit/>
          </a:bodyPr>
          <a:lstStyle/>
          <a:p>
            <a:r>
              <a:rPr kumimoji="0" lang="nl-NL" sz="3600" b="0" i="0" u="none" strike="noStrike" kern="1200" cap="none" spc="0" normalizeH="0" baseline="0" noProof="0">
                <a:ln>
                  <a:noFill/>
                </a:ln>
                <a:effectLst/>
                <a:uLnTx/>
                <a:uFillTx/>
              </a:rPr>
              <a:t>Discussie</a:t>
            </a:r>
            <a:endParaRPr lang="nl-NL" sz="3600" noProof="0"/>
          </a:p>
        </p:txBody>
      </p:sp>
      <p:sp>
        <p:nvSpPr>
          <p:cNvPr id="4" name="Tijdelijke aanduiding voor inhoud 2">
            <a:extLst>
              <a:ext uri="{FF2B5EF4-FFF2-40B4-BE49-F238E27FC236}">
                <a16:creationId xmlns:a16="http://schemas.microsoft.com/office/drawing/2014/main" id="{0C81CB1C-9796-C656-ECA3-2D02D1E8B409}"/>
              </a:ext>
            </a:extLst>
          </p:cNvPr>
          <p:cNvSpPr txBox="1">
            <a:spLocks/>
          </p:cNvSpPr>
          <p:nvPr/>
        </p:nvSpPr>
        <p:spPr>
          <a:xfrm>
            <a:off x="794328" y="1246072"/>
            <a:ext cx="10515022" cy="5154727"/>
          </a:xfrm>
          <a:prstGeom prst="rect">
            <a:avLst/>
          </a:prstGeom>
        </p:spPr>
        <p:txBody>
          <a:bodyPr vert="horz" lIns="0" tIns="0" rIns="0" bIns="0" rtlCol="0" anchor="t">
            <a:norm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defRPr/>
            </a:pPr>
            <a:endParaRPr lang="nl-NL"/>
          </a:p>
          <a:p>
            <a:pPr marL="287655" indent="-287655" fontAlgn="base">
              <a:spcAft>
                <a:spcPts val="600"/>
              </a:spcAft>
              <a:buFontTx/>
              <a:buChar char="-"/>
              <a:defRPr/>
            </a:pPr>
            <a:r>
              <a:rPr lang="nl-NL"/>
              <a:t>Welke concrete resultaten willen we voor eind 2026 als netwerk behalen? </a:t>
            </a:r>
            <a:endParaRPr lang="en-US">
              <a:solidFill>
                <a:srgbClr val="FF0000"/>
              </a:solidFill>
              <a:cs typeface="Poppins"/>
            </a:endParaRPr>
          </a:p>
          <a:p>
            <a:pPr marL="575945" lvl="1" indent="-287655">
              <a:spcAft>
                <a:spcPts val="600"/>
              </a:spcAft>
              <a:buClr>
                <a:srgbClr val="95BAFF"/>
              </a:buClr>
              <a:buFontTx/>
              <a:buChar char="-"/>
              <a:defRPr/>
            </a:pPr>
            <a:r>
              <a:rPr lang="nl-NL">
                <a:cs typeface="Poppins"/>
              </a:rPr>
              <a:t>Pijler optimalisatie netwerkzorg in de keten</a:t>
            </a:r>
            <a:endParaRPr lang="nl-NL"/>
          </a:p>
          <a:p>
            <a:pPr marL="863600" lvl="2" indent="-287655">
              <a:spcAft>
                <a:spcPts val="600"/>
              </a:spcAft>
              <a:buClr>
                <a:srgbClr val="FF89BC"/>
              </a:buClr>
              <a:buFont typeface="Wingdings"/>
              <a:buChar char="§"/>
              <a:defRPr/>
            </a:pPr>
            <a:r>
              <a:rPr lang="nl-NL">
                <a:cs typeface="Poppins"/>
              </a:rPr>
              <a:t>Leidraad proactieve zorgplanning</a:t>
            </a:r>
            <a:endParaRPr lang="en-US">
              <a:cs typeface="Poppins"/>
            </a:endParaRPr>
          </a:p>
          <a:p>
            <a:pPr marL="863600" lvl="2" indent="-287655">
              <a:spcAft>
                <a:spcPts val="600"/>
              </a:spcAft>
              <a:buClr>
                <a:srgbClr val="FF89BC"/>
              </a:buClr>
              <a:buFont typeface="Wingdings"/>
              <a:buChar char="§"/>
              <a:defRPr/>
            </a:pPr>
            <a:r>
              <a:rPr lang="nl-NL">
                <a:cs typeface="Poppins"/>
              </a:rPr>
              <a:t>Transmurale werkafspraken</a:t>
            </a:r>
            <a:endParaRPr lang="en-US">
              <a:cs typeface="Poppins"/>
            </a:endParaRPr>
          </a:p>
          <a:p>
            <a:pPr marL="863600" lvl="2" indent="-287655">
              <a:spcAft>
                <a:spcPts val="600"/>
              </a:spcAft>
              <a:buClr>
                <a:srgbClr val="FF89BC"/>
              </a:buClr>
              <a:buFont typeface="Wingdings"/>
              <a:buChar char="§"/>
              <a:defRPr/>
            </a:pPr>
            <a:r>
              <a:rPr lang="nl-NL">
                <a:cs typeface="Poppins"/>
              </a:rPr>
              <a:t>Onderdelen IZA plan Vitaal Gelderse vallei</a:t>
            </a:r>
          </a:p>
          <a:p>
            <a:pPr marL="287655" indent="-287655" fontAlgn="base">
              <a:spcAft>
                <a:spcPts val="600"/>
              </a:spcAft>
              <a:buFontTx/>
              <a:buChar char="-"/>
              <a:defRPr/>
            </a:pPr>
            <a:r>
              <a:rPr lang="nl-NL"/>
              <a:t>Als het netwerk palliatieve zorg weg zou vallen, wat gaat er dan in de regio niet lukken?</a:t>
            </a:r>
            <a:r>
              <a:rPr lang="nl-NL">
                <a:solidFill>
                  <a:srgbClr val="FF0000"/>
                </a:solidFill>
              </a:rPr>
              <a:t> </a:t>
            </a:r>
            <a:endParaRPr lang="nl-NL">
              <a:solidFill>
                <a:srgbClr val="FF0000"/>
              </a:solidFill>
              <a:cs typeface="Poppins"/>
            </a:endParaRPr>
          </a:p>
          <a:p>
            <a:pPr marL="287655" indent="-287655" fontAlgn="base">
              <a:spcAft>
                <a:spcPts val="600"/>
              </a:spcAft>
              <a:buFontTx/>
              <a:buChar char="-"/>
              <a:defRPr/>
            </a:pPr>
            <a:r>
              <a:rPr lang="nl-NL"/>
              <a:t>Kunnen we het netwerk in de regio anders organiseren, positioneren, zodat deze meer impact heeft? </a:t>
            </a:r>
          </a:p>
          <a:p>
            <a:pPr marL="0" indent="0" fontAlgn="base">
              <a:spcAft>
                <a:spcPts val="600"/>
              </a:spcAft>
              <a:buNone/>
              <a:defRPr/>
            </a:pPr>
            <a:endParaRPr lang="nl-NL">
              <a:cs typeface="Poppins"/>
            </a:endParaRPr>
          </a:p>
          <a:p>
            <a:pPr marL="287655" indent="-287655" fontAlgn="base">
              <a:spcAft>
                <a:spcPts val="600"/>
              </a:spcAft>
              <a:buFontTx/>
              <a:buChar char="-"/>
              <a:defRPr/>
            </a:pPr>
            <a:r>
              <a:rPr lang="nl-NL"/>
              <a:t>Hoe maken we duidelijk wat we van een ieder kunnen verwachten? </a:t>
            </a:r>
          </a:p>
          <a:p>
            <a:pPr marL="575655" lvl="1" indent="-287655" fontAlgn="base">
              <a:spcAft>
                <a:spcPts val="600"/>
              </a:spcAft>
              <a:buFontTx/>
              <a:buChar char="-"/>
              <a:defRPr/>
            </a:pPr>
            <a:r>
              <a:rPr lang="nl-NL"/>
              <a:t>Waar zou je zelf een actievere rol in willen spelen?</a:t>
            </a:r>
            <a:endParaRPr lang="nl-NL">
              <a:cs typeface="Poppins"/>
            </a:endParaRPr>
          </a:p>
          <a:p>
            <a:pPr marL="575945" lvl="1" indent="-287655" fontAlgn="base">
              <a:spcAft>
                <a:spcPts val="600"/>
              </a:spcAft>
              <a:buFontTx/>
              <a:buChar char="-"/>
              <a:defRPr/>
            </a:pPr>
            <a:r>
              <a:rPr lang="nl-NL"/>
              <a:t>Hoe kunnen we zorgen dat iedereen de samenwerkingsafspraken nakomt?</a:t>
            </a:r>
            <a:endParaRPr lang="nl-NL">
              <a:cs typeface="Poppins"/>
            </a:endParaRPr>
          </a:p>
          <a:p>
            <a:pPr marL="0" indent="0" fontAlgn="base">
              <a:spcAft>
                <a:spcPts val="600"/>
              </a:spcAft>
              <a:buNone/>
              <a:defRPr/>
            </a:pPr>
            <a:endParaRPr lang="nl-NL">
              <a:solidFill>
                <a:srgbClr val="FF0000"/>
              </a:solidFill>
              <a:cs typeface="Poppins"/>
            </a:endParaRPr>
          </a:p>
          <a:p>
            <a:pPr marL="0" indent="0" fontAlgn="base">
              <a:spcAft>
                <a:spcPts val="600"/>
              </a:spcAft>
              <a:buNone/>
              <a:defRPr/>
            </a:pPr>
            <a:endParaRPr lang="nl-NL"/>
          </a:p>
          <a:p>
            <a:pPr marL="0" indent="0" fontAlgn="base">
              <a:spcAft>
                <a:spcPts val="600"/>
              </a:spcAft>
              <a:buFont typeface="Arial" panose="020B0604020202020204" pitchFamily="34" charset="0"/>
              <a:buNone/>
              <a:defRPr/>
            </a:pPr>
            <a:endParaRPr lang="nl-NL"/>
          </a:p>
          <a:p>
            <a:pPr marL="287655" indent="-287655">
              <a:spcAft>
                <a:spcPts val="600"/>
              </a:spcAft>
            </a:pPr>
            <a:endParaRPr lang="nl-NL">
              <a:cs typeface="Poppins"/>
            </a:endParaRPr>
          </a:p>
          <a:p>
            <a:pPr marL="0" indent="0">
              <a:spcAft>
                <a:spcPts val="600"/>
              </a:spcAft>
              <a:buFont typeface="Arial" panose="020B0604020202020204" pitchFamily="34" charset="0"/>
              <a:buNone/>
            </a:pPr>
            <a:endParaRPr lang="nl-NL"/>
          </a:p>
          <a:p>
            <a:pPr marL="0" indent="0">
              <a:spcAft>
                <a:spcPts val="600"/>
              </a:spcAft>
              <a:buFont typeface="Arial" panose="020B0604020202020204" pitchFamily="34" charset="0"/>
              <a:buNone/>
            </a:pPr>
            <a:endParaRPr lang="nl-NL"/>
          </a:p>
        </p:txBody>
      </p:sp>
    </p:spTree>
    <p:extLst>
      <p:ext uri="{BB962C8B-B14F-4D97-AF65-F5344CB8AC3E}">
        <p14:creationId xmlns:p14="http://schemas.microsoft.com/office/powerpoint/2010/main" val="2855214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EFAD2-447C-4DBA-54BE-6EBF16825962}"/>
            </a:ext>
          </a:extLst>
        </p:cNvPr>
        <p:cNvGrpSpPr/>
        <p:nvPr/>
      </p:nvGrpSpPr>
      <p:grpSpPr>
        <a:xfrm>
          <a:off x="0" y="0"/>
          <a:ext cx="0" cy="0"/>
          <a:chOff x="0" y="0"/>
          <a:chExt cx="0" cy="0"/>
        </a:xfrm>
      </p:grpSpPr>
      <p:sp>
        <p:nvSpPr>
          <p:cNvPr id="8" name="Titel 6">
            <a:extLst>
              <a:ext uri="{FF2B5EF4-FFF2-40B4-BE49-F238E27FC236}">
                <a16:creationId xmlns:a16="http://schemas.microsoft.com/office/drawing/2014/main" id="{0B47A8F4-49B9-72BF-81CD-BD66F755FE5D}"/>
              </a:ext>
            </a:extLst>
          </p:cNvPr>
          <p:cNvSpPr>
            <a:spLocks noGrp="1"/>
          </p:cNvSpPr>
          <p:nvPr>
            <p:ph type="title"/>
          </p:nvPr>
        </p:nvSpPr>
        <p:spPr>
          <a:xfrm>
            <a:off x="704851" y="701675"/>
            <a:ext cx="10801350" cy="449251"/>
          </a:xfrm>
        </p:spPr>
        <p:txBody>
          <a:bodyPr anchor="t">
            <a:noAutofit/>
          </a:bodyPr>
          <a:lstStyle/>
          <a:p>
            <a:r>
              <a:rPr lang="nl-NL" sz="3600"/>
              <a:t>Proces</a:t>
            </a:r>
          </a:p>
        </p:txBody>
      </p:sp>
      <p:sp>
        <p:nvSpPr>
          <p:cNvPr id="9" name="Tijdelijke aanduiding voor inhoud 7">
            <a:extLst>
              <a:ext uri="{FF2B5EF4-FFF2-40B4-BE49-F238E27FC236}">
                <a16:creationId xmlns:a16="http://schemas.microsoft.com/office/drawing/2014/main" id="{32F5E22B-02E4-4B64-BA78-C67D4FC4E863}"/>
              </a:ext>
            </a:extLst>
          </p:cNvPr>
          <p:cNvSpPr txBox="1">
            <a:spLocks/>
          </p:cNvSpPr>
          <p:nvPr/>
        </p:nvSpPr>
        <p:spPr>
          <a:xfrm>
            <a:off x="759114" y="1479550"/>
            <a:ext cx="10994736" cy="4562475"/>
          </a:xfrm>
          <a:prstGeom prst="rect">
            <a:avLst/>
          </a:prstGeom>
        </p:spPr>
        <p:txBody>
          <a:bodyPr vert="horz" lIns="0" tIns="0" rIns="0" bIns="0" rtlCol="0" anchor="t">
            <a:norm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1" indent="-342900">
              <a:spcBef>
                <a:spcPts val="1000"/>
              </a:spcBef>
              <a:buFontTx/>
              <a:buChar char="-"/>
            </a:pPr>
            <a:r>
              <a:rPr lang="nl-NL" sz="2000">
                <a:cs typeface="Poppins"/>
              </a:rPr>
              <a:t>Doel Netwerkevaluatie: evalueren samenwerking in het netwerk én de implementatie van het kwaliteitskader met als einddoel het netwerk door ontwikkelen en palliatieve zorg te integreren in het reguliere zorgproces.</a:t>
            </a:r>
          </a:p>
          <a:p>
            <a:pPr marL="342900" lvl="1" indent="-342900">
              <a:spcBef>
                <a:spcPts val="1000"/>
              </a:spcBef>
              <a:buFont typeface="Calibri" panose="020B0604020202020204" pitchFamily="34" charset="0"/>
              <a:buChar char="-"/>
            </a:pPr>
            <a:r>
              <a:rPr lang="nl-NL" sz="2000">
                <a:cs typeface="Poppins"/>
              </a:rPr>
              <a:t>Uitzetten vragenlijsten (periode half maart – half april) </a:t>
            </a:r>
          </a:p>
          <a:p>
            <a:pPr marL="630900" lvl="2" indent="-342900">
              <a:spcBef>
                <a:spcPts val="1000"/>
              </a:spcBef>
              <a:buFont typeface="Calibri" panose="020B0604020202020204" pitchFamily="34" charset="0"/>
              <a:buChar char="-"/>
            </a:pPr>
            <a:r>
              <a:rPr lang="nl-NL" sz="2000">
                <a:cs typeface="Poppins"/>
              </a:rPr>
              <a:t>Algemene vragen</a:t>
            </a:r>
          </a:p>
          <a:p>
            <a:pPr marL="630900" lvl="2" indent="-342900">
              <a:spcBef>
                <a:spcPts val="1000"/>
              </a:spcBef>
              <a:buFont typeface="Calibri" panose="020B0604020202020204" pitchFamily="34" charset="0"/>
              <a:buChar char="-"/>
            </a:pPr>
            <a:r>
              <a:rPr lang="nl-NL" sz="2000">
                <a:cs typeface="Poppins"/>
              </a:rPr>
              <a:t>Netwerksamenwerking</a:t>
            </a:r>
          </a:p>
          <a:p>
            <a:pPr marL="630900" lvl="2" indent="-342900">
              <a:spcBef>
                <a:spcPts val="1000"/>
              </a:spcBef>
              <a:buFont typeface="Calibri" panose="020B0604020202020204" pitchFamily="34" charset="0"/>
              <a:buChar char="-"/>
            </a:pPr>
            <a:r>
              <a:rPr lang="nl-NL" sz="2000">
                <a:cs typeface="Poppins"/>
              </a:rPr>
              <a:t>Implementatie kwaliteitskader</a:t>
            </a:r>
          </a:p>
          <a:p>
            <a:pPr marL="288000" lvl="2" indent="0">
              <a:spcBef>
                <a:spcPts val="1000"/>
              </a:spcBef>
              <a:buFont typeface="Arial" panose="020B0604020202020204" pitchFamily="34" charset="0"/>
              <a:buNone/>
            </a:pPr>
            <a:endParaRPr lang="nl-NL" sz="2000">
              <a:cs typeface="Poppins"/>
            </a:endParaRPr>
          </a:p>
          <a:p>
            <a:pPr marL="342900" lvl="1" indent="-342900">
              <a:spcBef>
                <a:spcPts val="1000"/>
              </a:spcBef>
              <a:buFont typeface="Calibri" panose="020B0604020202020204" pitchFamily="34" charset="0"/>
              <a:buChar char="-"/>
            </a:pPr>
            <a:r>
              <a:rPr lang="nl-NL" sz="2000">
                <a:cs typeface="Poppins"/>
              </a:rPr>
              <a:t>Terugkoppeling beeld</a:t>
            </a:r>
          </a:p>
          <a:p>
            <a:pPr marL="342900" lvl="1" indent="-342900">
              <a:spcBef>
                <a:spcPts val="1000"/>
              </a:spcBef>
              <a:buFont typeface="Calibri" panose="020B0604020202020204" pitchFamily="34" charset="0"/>
              <a:buChar char="-"/>
            </a:pPr>
            <a:r>
              <a:rPr lang="nl-NL" sz="2100">
                <a:cs typeface="Poppins"/>
              </a:rPr>
              <a:t>Vervolgstappen</a:t>
            </a:r>
          </a:p>
          <a:p>
            <a:pPr marL="457200" lvl="2" indent="0">
              <a:spcBef>
                <a:spcPts val="1000"/>
              </a:spcBef>
              <a:buFont typeface="Arial" panose="020B0604020202020204" pitchFamily="34" charset="0"/>
              <a:buNone/>
            </a:pPr>
            <a:endParaRPr lang="nl-NL"/>
          </a:p>
          <a:p>
            <a:pPr marL="457200" lvl="2" indent="0">
              <a:spcBef>
                <a:spcPts val="1000"/>
              </a:spcBef>
              <a:buClr>
                <a:srgbClr val="FF89BC"/>
              </a:buClr>
              <a:buFont typeface="Arial" panose="020B0604020202020204" pitchFamily="34" charset="0"/>
              <a:buNone/>
            </a:pPr>
            <a:endParaRPr lang="nl-NL">
              <a:cs typeface="Poppins"/>
            </a:endParaRPr>
          </a:p>
          <a:p>
            <a:pPr marL="287655" lvl="1" indent="0">
              <a:buFont typeface="Arial" panose="020B0604020202020204" pitchFamily="34" charset="0"/>
              <a:buNone/>
            </a:pPr>
            <a:endParaRPr lang="nl-NL">
              <a:cs typeface="Poppins"/>
            </a:endParaRPr>
          </a:p>
          <a:p>
            <a:pPr marL="287655" lvl="1" indent="0">
              <a:buClr>
                <a:srgbClr val="95BAFF"/>
              </a:buClr>
              <a:buFont typeface="Arial" panose="020B0604020202020204" pitchFamily="34" charset="0"/>
              <a:buNone/>
            </a:pPr>
            <a:endParaRPr lang="en-US">
              <a:highlight>
                <a:srgbClr val="EDEBE9"/>
              </a:highlight>
              <a:cs typeface="Poppins"/>
            </a:endParaRPr>
          </a:p>
          <a:p>
            <a:pPr marL="287655" indent="-287655" fontAlgn="base"/>
            <a:endParaRPr lang="nl-NL">
              <a:highlight>
                <a:srgbClr val="EDEBE9"/>
              </a:highlight>
              <a:cs typeface="Poppins"/>
            </a:endParaRPr>
          </a:p>
          <a:p>
            <a:pPr marL="287655" indent="-287655" fontAlgn="base"/>
            <a:endParaRPr lang="nl-NL">
              <a:highlight>
                <a:srgbClr val="EDEBE9"/>
              </a:highlight>
              <a:cs typeface="Poppins"/>
            </a:endParaRPr>
          </a:p>
          <a:p>
            <a:pPr lvl="8"/>
            <a:endParaRPr lang="nl-NL" sz="1200"/>
          </a:p>
          <a:p>
            <a:pPr lvl="8"/>
            <a:endParaRPr lang="nl-NL" sz="1200"/>
          </a:p>
          <a:p>
            <a:pPr lvl="8"/>
            <a:endParaRPr lang="nl-NL" sz="1200"/>
          </a:p>
          <a:p>
            <a:pPr lvl="8"/>
            <a:endParaRPr lang="nl-NL" sz="1200">
              <a:cs typeface="Poppins"/>
            </a:endParaRPr>
          </a:p>
        </p:txBody>
      </p:sp>
      <p:pic>
        <p:nvPicPr>
          <p:cNvPr id="10" name="Picture 2">
            <a:extLst>
              <a:ext uri="{FF2B5EF4-FFF2-40B4-BE49-F238E27FC236}">
                <a16:creationId xmlns:a16="http://schemas.microsoft.com/office/drawing/2014/main" id="{5BFF12B8-3B3E-194B-AAF2-94EBB40060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8850" y="3986212"/>
            <a:ext cx="1454150" cy="145415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E58CF9C9-F109-A14C-3B1A-D2AE8FD384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3000" y="3986212"/>
            <a:ext cx="1752600" cy="142261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a:extLst>
              <a:ext uri="{FF2B5EF4-FFF2-40B4-BE49-F238E27FC236}">
                <a16:creationId xmlns:a16="http://schemas.microsoft.com/office/drawing/2014/main" id="{780EC484-92B0-2279-69C6-5D2898B77B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45600" y="4148137"/>
            <a:ext cx="2082800" cy="984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8786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78A233-1B4A-7286-D26B-8D509C67661F}"/>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25B4D8A9-6EA3-45E0-A8F4-AB0A713A7E61}"/>
              </a:ext>
            </a:extLst>
          </p:cNvPr>
          <p:cNvSpPr>
            <a:spLocks noGrp="1"/>
          </p:cNvSpPr>
          <p:nvPr>
            <p:ph type="title"/>
          </p:nvPr>
        </p:nvSpPr>
        <p:spPr/>
        <p:txBody>
          <a:bodyPr anchor="t">
            <a:noAutofit/>
          </a:bodyPr>
          <a:lstStyle/>
          <a:p>
            <a:r>
              <a:rPr lang="nl-NL" sz="3600"/>
              <a:t>Respons</a:t>
            </a:r>
          </a:p>
        </p:txBody>
      </p:sp>
      <p:sp>
        <p:nvSpPr>
          <p:cNvPr id="21" name="Date Placeholder 4">
            <a:extLst>
              <a:ext uri="{FF2B5EF4-FFF2-40B4-BE49-F238E27FC236}">
                <a16:creationId xmlns:a16="http://schemas.microsoft.com/office/drawing/2014/main" id="{5723B6DD-86A2-4A01-CAB2-FE0A1D9E0676}"/>
              </a:ext>
            </a:extLst>
          </p:cNvPr>
          <p:cNvSpPr>
            <a:spLocks noGrp="1"/>
          </p:cNvSpPr>
          <p:nvPr>
            <p:ph type="dt" sz="half" idx="10"/>
          </p:nvPr>
        </p:nvSpPr>
        <p:spPr/>
        <p:txBody>
          <a:bodyPr/>
          <a:lstStyle/>
          <a:p>
            <a:pPr>
              <a:spcAft>
                <a:spcPts val="600"/>
              </a:spcAft>
            </a:pPr>
            <a:fld id="{383C0797-79AE-48B0-A2B6-7B046B69A790}" type="datetime1">
              <a:rPr lang="nl-NL" smtClean="0"/>
              <a:pPr>
                <a:spcAft>
                  <a:spcPts val="600"/>
                </a:spcAft>
              </a:pPr>
              <a:t>16-6-2025</a:t>
            </a:fld>
            <a:endParaRPr lang="nl-NL"/>
          </a:p>
        </p:txBody>
      </p:sp>
      <p:sp>
        <p:nvSpPr>
          <p:cNvPr id="59" name="Tijdelijke aanduiding voor inhoud 7">
            <a:extLst>
              <a:ext uri="{FF2B5EF4-FFF2-40B4-BE49-F238E27FC236}">
                <a16:creationId xmlns:a16="http://schemas.microsoft.com/office/drawing/2014/main" id="{F18D107D-6907-9A38-FF77-41DED2973788}"/>
              </a:ext>
            </a:extLst>
          </p:cNvPr>
          <p:cNvSpPr>
            <a:spLocks noGrp="1"/>
          </p:cNvSpPr>
          <p:nvPr>
            <p:ph sz="half" idx="4294967295"/>
          </p:nvPr>
        </p:nvSpPr>
        <p:spPr>
          <a:xfrm>
            <a:off x="759114" y="1479550"/>
            <a:ext cx="9902536" cy="4562475"/>
          </a:xfrm>
        </p:spPr>
        <p:txBody>
          <a:bodyPr vert="horz" lIns="0" tIns="0" rIns="0" bIns="0" rtlCol="0">
            <a:normAutofit/>
          </a:bodyPr>
          <a:lstStyle/>
          <a:p>
            <a:pPr marL="0" lvl="1" indent="0">
              <a:spcBef>
                <a:spcPts val="1000"/>
              </a:spcBef>
              <a:buNone/>
            </a:pPr>
            <a:endParaRPr lang="nl-NL"/>
          </a:p>
          <a:p>
            <a:pPr marL="0" lvl="1" indent="0">
              <a:spcBef>
                <a:spcPts val="1000"/>
              </a:spcBef>
              <a:buNone/>
            </a:pPr>
            <a:r>
              <a:rPr lang="nl-NL" sz="2400"/>
              <a:t>20 vragenlijsten zijn (anoniem), eerlijk en met zorg en aandacht, ingevuld. </a:t>
            </a:r>
          </a:p>
          <a:p>
            <a:pPr marL="0" lvl="1" indent="0">
              <a:spcBef>
                <a:spcPts val="1000"/>
              </a:spcBef>
              <a:buNone/>
            </a:pPr>
            <a:r>
              <a:rPr lang="nl-NL" sz="2400"/>
              <a:t>Passie voor palliatieve zorg.</a:t>
            </a:r>
          </a:p>
          <a:p>
            <a:pPr marL="0" lvl="1" indent="0">
              <a:spcBef>
                <a:spcPts val="1000"/>
              </a:spcBef>
              <a:buNone/>
            </a:pPr>
            <a:r>
              <a:rPr lang="nl-NL" sz="2400"/>
              <a:t>   </a:t>
            </a:r>
          </a:p>
          <a:p>
            <a:pPr marL="800100" lvl="2" indent="-342900">
              <a:spcBef>
                <a:spcPts val="1000"/>
              </a:spcBef>
            </a:pPr>
            <a:r>
              <a:rPr lang="nl-NL" sz="2400"/>
              <a:t>12 zorgverleners en leidinggevenden</a:t>
            </a:r>
          </a:p>
          <a:p>
            <a:pPr marL="800100" lvl="2" indent="-342900">
              <a:spcBef>
                <a:spcPts val="1000"/>
              </a:spcBef>
            </a:pPr>
            <a:r>
              <a:rPr lang="nl-NL" sz="2400"/>
              <a:t>7 bestuurders</a:t>
            </a:r>
          </a:p>
          <a:p>
            <a:pPr marL="800100" lvl="2" indent="-342900">
              <a:spcBef>
                <a:spcPts val="1000"/>
              </a:spcBef>
            </a:pPr>
            <a:r>
              <a:rPr lang="nl-NL" sz="2400"/>
              <a:t>1  netwerkcoördinator (gezamenlijk)</a:t>
            </a:r>
          </a:p>
          <a:p>
            <a:pPr marL="457200" lvl="2" indent="0">
              <a:spcBef>
                <a:spcPts val="1000"/>
              </a:spcBef>
              <a:buNone/>
            </a:pPr>
            <a:endParaRPr lang="nl-NL"/>
          </a:p>
          <a:p>
            <a:pPr marL="457200" lvl="2" indent="0">
              <a:spcBef>
                <a:spcPts val="1000"/>
              </a:spcBef>
              <a:buNone/>
            </a:pPr>
            <a:endParaRPr lang="nl-NL"/>
          </a:p>
          <a:p>
            <a:pPr marL="287655" lvl="1" indent="0">
              <a:buNone/>
            </a:pPr>
            <a:endParaRPr lang="nl-NL"/>
          </a:p>
          <a:p>
            <a:pPr marL="287655" lvl="1" indent="0">
              <a:buNone/>
            </a:pPr>
            <a:endParaRPr lang="en-US" b="0" i="0">
              <a:effectLst/>
              <a:highlight>
                <a:srgbClr val="EDEBE9"/>
              </a:highlight>
            </a:endParaRPr>
          </a:p>
          <a:p>
            <a:pPr marL="287655" indent="-287655" rtl="0" fontAlgn="base"/>
            <a:endParaRPr lang="nl-NL" b="0" i="0">
              <a:effectLst/>
              <a:highlight>
                <a:srgbClr val="EDEBE9"/>
              </a:highlight>
            </a:endParaRPr>
          </a:p>
          <a:p>
            <a:pPr marL="0" indent="0" rtl="0" fontAlgn="base">
              <a:buNone/>
            </a:pPr>
            <a:endParaRPr lang="nl-NL" b="0" i="0">
              <a:effectLst/>
              <a:highlight>
                <a:srgbClr val="EDEBE9"/>
              </a:highlight>
            </a:endParaRPr>
          </a:p>
          <a:p>
            <a:pPr lvl="8"/>
            <a:endParaRPr lang="nl-NL" sz="1200"/>
          </a:p>
          <a:p>
            <a:pPr lvl="8"/>
            <a:endParaRPr lang="nl-NL" sz="1200"/>
          </a:p>
          <a:p>
            <a:pPr lvl="8"/>
            <a:endParaRPr lang="nl-NL" sz="1200"/>
          </a:p>
          <a:p>
            <a:pPr lvl="8"/>
            <a:endParaRPr lang="nl-NL" sz="1200"/>
          </a:p>
        </p:txBody>
      </p:sp>
    </p:spTree>
    <p:extLst>
      <p:ext uri="{BB962C8B-B14F-4D97-AF65-F5344CB8AC3E}">
        <p14:creationId xmlns:p14="http://schemas.microsoft.com/office/powerpoint/2010/main" val="3348120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D42EB5-B853-076E-3362-8ADC8998DDDB}"/>
            </a:ext>
          </a:extLst>
        </p:cNvPr>
        <p:cNvGrpSpPr/>
        <p:nvPr/>
      </p:nvGrpSpPr>
      <p:grpSpPr>
        <a:xfrm>
          <a:off x="0" y="0"/>
          <a:ext cx="0" cy="0"/>
          <a:chOff x="0" y="0"/>
          <a:chExt cx="0" cy="0"/>
        </a:xfrm>
      </p:grpSpPr>
      <p:sp>
        <p:nvSpPr>
          <p:cNvPr id="6" name="Titel 6">
            <a:extLst>
              <a:ext uri="{FF2B5EF4-FFF2-40B4-BE49-F238E27FC236}">
                <a16:creationId xmlns:a16="http://schemas.microsoft.com/office/drawing/2014/main" id="{B6892824-F69C-7461-0568-E7C500E6BA58}"/>
              </a:ext>
            </a:extLst>
          </p:cNvPr>
          <p:cNvSpPr>
            <a:spLocks noGrp="1"/>
          </p:cNvSpPr>
          <p:nvPr>
            <p:ph type="title"/>
          </p:nvPr>
        </p:nvSpPr>
        <p:spPr>
          <a:xfrm>
            <a:off x="704851" y="701675"/>
            <a:ext cx="10801350" cy="449251"/>
          </a:xfrm>
        </p:spPr>
        <p:txBody>
          <a:bodyPr anchor="t">
            <a:noAutofit/>
          </a:bodyPr>
          <a:lstStyle/>
          <a:p>
            <a:r>
              <a:rPr lang="nl-NL" sz="3600"/>
              <a:t>Definitie Netwerk</a:t>
            </a:r>
          </a:p>
        </p:txBody>
      </p:sp>
      <p:sp>
        <p:nvSpPr>
          <p:cNvPr id="7" name="Tijdelijke aanduiding voor inhoud 7">
            <a:extLst>
              <a:ext uri="{FF2B5EF4-FFF2-40B4-BE49-F238E27FC236}">
                <a16:creationId xmlns:a16="http://schemas.microsoft.com/office/drawing/2014/main" id="{F045E174-4CA3-AB63-DB34-1D114D6D576A}"/>
              </a:ext>
            </a:extLst>
          </p:cNvPr>
          <p:cNvSpPr>
            <a:spLocks noGrp="1"/>
          </p:cNvSpPr>
          <p:nvPr>
            <p:ph sz="half" idx="1"/>
          </p:nvPr>
        </p:nvSpPr>
        <p:spPr>
          <a:xfrm>
            <a:off x="698742" y="1704109"/>
            <a:ext cx="5715913" cy="4126778"/>
          </a:xfrm>
        </p:spPr>
        <p:txBody>
          <a:bodyPr vert="horz" lIns="0" tIns="0" rIns="0" bIns="0" rtlCol="0">
            <a:normAutofit/>
          </a:bodyPr>
          <a:lstStyle/>
          <a:p>
            <a:pPr lvl="8">
              <a:spcAft>
                <a:spcPts val="600"/>
              </a:spcAft>
            </a:pPr>
            <a:endParaRPr lang="nl-NL" sz="1200">
              <a:highlight>
                <a:srgbClr val="FFFF00"/>
              </a:highlight>
            </a:endParaRPr>
          </a:p>
          <a:p>
            <a:pPr lvl="8">
              <a:spcAft>
                <a:spcPts val="600"/>
              </a:spcAft>
            </a:pPr>
            <a:r>
              <a:rPr lang="nl-NL" sz="1800"/>
              <a:t>Het netwerk is een regionaal samenwerkingsverband van organisaties in de regio die zich inzetten voor de kwaliteit, toegankelijkheid en samenhang van de palliatieve zorg voor patiënten en hun naasten.</a:t>
            </a:r>
          </a:p>
          <a:p>
            <a:pPr lvl="8">
              <a:spcAft>
                <a:spcPts val="600"/>
              </a:spcAft>
            </a:pPr>
            <a:endParaRPr lang="nl-NL" sz="1200"/>
          </a:p>
          <a:p>
            <a:pPr lvl="8">
              <a:spcAft>
                <a:spcPts val="600"/>
              </a:spcAft>
            </a:pPr>
            <a:endParaRPr lang="nl-NL" sz="1200"/>
          </a:p>
          <a:p>
            <a:pPr marL="342900" lvl="8" indent="-342900">
              <a:spcAft>
                <a:spcPts val="600"/>
              </a:spcAft>
              <a:buFontTx/>
              <a:buChar char="-"/>
            </a:pPr>
            <a:endParaRPr lang="nl-NL" sz="1200"/>
          </a:p>
        </p:txBody>
      </p:sp>
      <p:pic>
        <p:nvPicPr>
          <p:cNvPr id="8" name="Afbeelding 7">
            <a:extLst>
              <a:ext uri="{FF2B5EF4-FFF2-40B4-BE49-F238E27FC236}">
                <a16:creationId xmlns:a16="http://schemas.microsoft.com/office/drawing/2014/main" id="{4BA7C9D8-A614-56AE-8C07-C24CD381AE33}"/>
              </a:ext>
            </a:extLst>
          </p:cNvPr>
          <p:cNvPicPr>
            <a:picLocks noChangeAspect="1"/>
          </p:cNvPicPr>
          <p:nvPr/>
        </p:nvPicPr>
        <p:blipFill>
          <a:blip r:embed="rId3"/>
          <a:srcRect r="27671" b="-3"/>
          <a:stretch/>
        </p:blipFill>
        <p:spPr>
          <a:xfrm>
            <a:off x="6774224" y="1704109"/>
            <a:ext cx="4719033" cy="4126778"/>
          </a:xfrm>
          <a:prstGeom prst="rect">
            <a:avLst/>
          </a:prstGeom>
          <a:noFill/>
        </p:spPr>
      </p:pic>
    </p:spTree>
    <p:extLst>
      <p:ext uri="{BB962C8B-B14F-4D97-AF65-F5344CB8AC3E}">
        <p14:creationId xmlns:p14="http://schemas.microsoft.com/office/powerpoint/2010/main" val="2779007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FD1641-6410-223B-99FF-7F23F04571F4}"/>
            </a:ext>
          </a:extLst>
        </p:cNvPr>
        <p:cNvGrpSpPr/>
        <p:nvPr/>
      </p:nvGrpSpPr>
      <p:grpSpPr>
        <a:xfrm>
          <a:off x="0" y="0"/>
          <a:ext cx="0" cy="0"/>
          <a:chOff x="0" y="0"/>
          <a:chExt cx="0" cy="0"/>
        </a:xfrm>
      </p:grpSpPr>
      <p:pic>
        <p:nvPicPr>
          <p:cNvPr id="8" name="Afbeelding 7">
            <a:extLst>
              <a:ext uri="{FF2B5EF4-FFF2-40B4-BE49-F238E27FC236}">
                <a16:creationId xmlns:a16="http://schemas.microsoft.com/office/drawing/2014/main" id="{8E2A7561-596A-135A-35D2-EF707DF3086A}"/>
              </a:ext>
            </a:extLst>
          </p:cNvPr>
          <p:cNvPicPr>
            <a:picLocks noChangeAspect="1"/>
          </p:cNvPicPr>
          <p:nvPr/>
        </p:nvPicPr>
        <p:blipFill>
          <a:blip r:embed="rId2"/>
          <a:stretch>
            <a:fillRect/>
          </a:stretch>
        </p:blipFill>
        <p:spPr>
          <a:xfrm>
            <a:off x="2190466" y="820464"/>
            <a:ext cx="6266752" cy="5217072"/>
          </a:xfrm>
          <a:prstGeom prst="rect">
            <a:avLst/>
          </a:prstGeom>
          <a:noFill/>
        </p:spPr>
      </p:pic>
    </p:spTree>
    <p:extLst>
      <p:ext uri="{BB962C8B-B14F-4D97-AF65-F5344CB8AC3E}">
        <p14:creationId xmlns:p14="http://schemas.microsoft.com/office/powerpoint/2010/main" val="2413858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87F56F7D-4FBB-9A61-37B4-AA54E6CC2E96}"/>
              </a:ext>
            </a:extLst>
          </p:cNvPr>
          <p:cNvPicPr>
            <a:picLocks noChangeAspect="1"/>
          </p:cNvPicPr>
          <p:nvPr/>
        </p:nvPicPr>
        <p:blipFill>
          <a:blip r:embed="rId3"/>
          <a:stretch>
            <a:fillRect/>
          </a:stretch>
        </p:blipFill>
        <p:spPr>
          <a:xfrm>
            <a:off x="586854" y="498451"/>
            <a:ext cx="8004412" cy="5503034"/>
          </a:xfrm>
          <a:prstGeom prst="rect">
            <a:avLst/>
          </a:prstGeom>
          <a:noFill/>
        </p:spPr>
      </p:pic>
      <p:sp>
        <p:nvSpPr>
          <p:cNvPr id="5" name="Tijdelijke aanduiding voor datum 4" hidden="1">
            <a:extLst>
              <a:ext uri="{FF2B5EF4-FFF2-40B4-BE49-F238E27FC236}">
                <a16:creationId xmlns:a16="http://schemas.microsoft.com/office/drawing/2014/main" id="{CDA6C9A9-211E-D681-7297-6670E8F532F6}"/>
              </a:ext>
            </a:extLst>
          </p:cNvPr>
          <p:cNvSpPr>
            <a:spLocks noGrp="1"/>
          </p:cNvSpPr>
          <p:nvPr>
            <p:ph type="dt" sz="half" idx="10"/>
          </p:nvPr>
        </p:nvSpPr>
        <p:spPr/>
        <p:txBody>
          <a:bodyPr/>
          <a:lstStyle/>
          <a:p>
            <a:pPr>
              <a:spcAft>
                <a:spcPts val="600"/>
              </a:spcAft>
            </a:pPr>
            <a:fld id="{383C0797-79AE-48B0-A2B6-7B046B69A790}" type="datetime1">
              <a:rPr lang="nl-NL" smtClean="0"/>
              <a:pPr>
                <a:spcAft>
                  <a:spcPts val="600"/>
                </a:spcAft>
              </a:pPr>
              <a:t>16-6-2025</a:t>
            </a:fld>
            <a:endParaRPr lang="nl-NL"/>
          </a:p>
        </p:txBody>
      </p:sp>
      <p:pic>
        <p:nvPicPr>
          <p:cNvPr id="8" name="Afbeelding 7">
            <a:extLst>
              <a:ext uri="{FF2B5EF4-FFF2-40B4-BE49-F238E27FC236}">
                <a16:creationId xmlns:a16="http://schemas.microsoft.com/office/drawing/2014/main" id="{985D16D8-7739-C2E1-3DFC-BA20A03F993D}"/>
              </a:ext>
            </a:extLst>
          </p:cNvPr>
          <p:cNvPicPr>
            <a:picLocks noChangeAspect="1"/>
          </p:cNvPicPr>
          <p:nvPr/>
        </p:nvPicPr>
        <p:blipFill>
          <a:blip r:embed="rId4"/>
          <a:stretch>
            <a:fillRect/>
          </a:stretch>
        </p:blipFill>
        <p:spPr>
          <a:xfrm>
            <a:off x="586854" y="6041549"/>
            <a:ext cx="7829365" cy="537564"/>
          </a:xfrm>
          <a:prstGeom prst="rect">
            <a:avLst/>
          </a:prstGeom>
        </p:spPr>
      </p:pic>
      <p:sp>
        <p:nvSpPr>
          <p:cNvPr id="9" name="Tijdelijke aanduiding voor inhoud 7">
            <a:extLst>
              <a:ext uri="{FF2B5EF4-FFF2-40B4-BE49-F238E27FC236}">
                <a16:creationId xmlns:a16="http://schemas.microsoft.com/office/drawing/2014/main" id="{EEA7A717-A91F-D41F-1AA9-0A3D293833EA}"/>
              </a:ext>
            </a:extLst>
          </p:cNvPr>
          <p:cNvSpPr>
            <a:spLocks noGrp="1"/>
          </p:cNvSpPr>
          <p:nvPr>
            <p:ph sz="half" idx="1"/>
          </p:nvPr>
        </p:nvSpPr>
        <p:spPr>
          <a:xfrm>
            <a:off x="7139724" y="1415424"/>
            <a:ext cx="4662153" cy="3342313"/>
          </a:xfrm>
        </p:spPr>
        <p:txBody>
          <a:bodyPr vert="horz" lIns="0" tIns="0" rIns="0" bIns="0" rtlCol="0" anchor="t">
            <a:noAutofit/>
          </a:bodyPr>
          <a:lstStyle/>
          <a:p>
            <a:pPr marL="0" indent="0" fontAlgn="base">
              <a:spcAft>
                <a:spcPts val="600"/>
              </a:spcAft>
              <a:buNone/>
            </a:pPr>
            <a:endParaRPr lang="nl-NL" sz="1800" b="1" i="0" u="none" strike="noStrike">
              <a:effectLst/>
              <a:cs typeface="Poppins"/>
            </a:endParaRPr>
          </a:p>
          <a:p>
            <a:pPr marL="0" indent="0">
              <a:spcAft>
                <a:spcPts val="600"/>
              </a:spcAft>
              <a:buNone/>
            </a:pPr>
            <a:r>
              <a:rPr lang="nl-NL" sz="1800" b="1">
                <a:cs typeface="Poppins"/>
              </a:rPr>
              <a:t>Potentieel niet passende zorg</a:t>
            </a:r>
            <a:endParaRPr lang="en-US" sz="1800">
              <a:cs typeface="Poppins"/>
            </a:endParaRPr>
          </a:p>
          <a:p>
            <a:pPr marL="287655" indent="-287655">
              <a:spcAft>
                <a:spcPts val="600"/>
              </a:spcAft>
              <a:buFont typeface="Arial"/>
              <a:buChar char="-"/>
            </a:pPr>
            <a:r>
              <a:rPr lang="nl-NL" sz="1800">
                <a:cs typeface="Poppins"/>
              </a:rPr>
              <a:t>2 of meer bezoeken aan de SEH</a:t>
            </a:r>
            <a:endParaRPr lang="en-US" sz="1800">
              <a:cs typeface="Poppins"/>
            </a:endParaRPr>
          </a:p>
          <a:p>
            <a:pPr marL="287655" indent="-287655">
              <a:spcAft>
                <a:spcPts val="600"/>
              </a:spcAft>
              <a:buFont typeface="Arial"/>
              <a:buChar char="-"/>
            </a:pPr>
            <a:r>
              <a:rPr lang="nl-NL" sz="1800">
                <a:cs typeface="Poppins"/>
              </a:rPr>
              <a:t>2 of meer ziekenhuis opnames in de laatste maand</a:t>
            </a:r>
            <a:endParaRPr lang="en-US" sz="1800">
              <a:cs typeface="Poppins"/>
            </a:endParaRPr>
          </a:p>
          <a:p>
            <a:pPr marL="287655" indent="-287655">
              <a:spcAft>
                <a:spcPts val="600"/>
              </a:spcAft>
              <a:buFont typeface="Arial"/>
              <a:buChar char="-"/>
            </a:pPr>
            <a:r>
              <a:rPr lang="nl-NL" sz="1800">
                <a:cs typeface="Poppins"/>
              </a:rPr>
              <a:t>Meer dan 14 dagen ziekenhuisopname in de laatste maand</a:t>
            </a:r>
            <a:endParaRPr lang="en-US" sz="1800">
              <a:cs typeface="Poppins"/>
            </a:endParaRPr>
          </a:p>
          <a:p>
            <a:pPr marL="287655" indent="-287655">
              <a:spcAft>
                <a:spcPts val="600"/>
              </a:spcAft>
              <a:buFont typeface="Arial"/>
              <a:buChar char="-"/>
            </a:pPr>
            <a:r>
              <a:rPr lang="nl-NL" sz="1800">
                <a:cs typeface="Poppins"/>
              </a:rPr>
              <a:t>Chemotherapie in de laatste maand</a:t>
            </a:r>
            <a:endParaRPr lang="en-US" sz="1800">
              <a:cs typeface="Poppins"/>
            </a:endParaRPr>
          </a:p>
          <a:p>
            <a:pPr marL="287655" indent="-287655">
              <a:spcAft>
                <a:spcPts val="600"/>
              </a:spcAft>
              <a:buFont typeface="Arial"/>
              <a:buChar char="-"/>
            </a:pPr>
            <a:r>
              <a:rPr lang="nl-NL" sz="1800">
                <a:cs typeface="Poppins"/>
              </a:rPr>
              <a:t>IC opname in de laatste maand</a:t>
            </a:r>
            <a:endParaRPr lang="en-US" sz="1800">
              <a:cs typeface="Poppins"/>
            </a:endParaRPr>
          </a:p>
          <a:p>
            <a:pPr marL="287655" indent="-287655">
              <a:spcAft>
                <a:spcPts val="600"/>
              </a:spcAft>
              <a:buFont typeface="Arial"/>
              <a:buChar char="-"/>
            </a:pPr>
            <a:r>
              <a:rPr lang="nl-NL" sz="1800">
                <a:cs typeface="Poppins"/>
              </a:rPr>
              <a:t>Overlijden in ziekenhuis</a:t>
            </a:r>
            <a:endParaRPr lang="nl-NL"/>
          </a:p>
          <a:p>
            <a:pPr marL="0" indent="0" rtl="0" fontAlgn="base">
              <a:spcAft>
                <a:spcPts val="600"/>
              </a:spcAft>
              <a:buNone/>
            </a:pPr>
            <a:endParaRPr lang="nl-NL" sz="2400" i="0" u="none" strike="noStrike">
              <a:effectLst/>
            </a:endParaRPr>
          </a:p>
        </p:txBody>
      </p:sp>
    </p:spTree>
    <p:extLst>
      <p:ext uri="{BB962C8B-B14F-4D97-AF65-F5344CB8AC3E}">
        <p14:creationId xmlns:p14="http://schemas.microsoft.com/office/powerpoint/2010/main" val="4498960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6">
            <a:extLst>
              <a:ext uri="{FF2B5EF4-FFF2-40B4-BE49-F238E27FC236}">
                <a16:creationId xmlns:a16="http://schemas.microsoft.com/office/drawing/2014/main" id="{2102DF0E-056B-2137-BDD7-B489D8C6D3C7}"/>
              </a:ext>
            </a:extLst>
          </p:cNvPr>
          <p:cNvSpPr>
            <a:spLocks noGrp="1"/>
          </p:cNvSpPr>
          <p:nvPr>
            <p:ph type="title"/>
          </p:nvPr>
        </p:nvSpPr>
        <p:spPr>
          <a:xfrm>
            <a:off x="704851" y="701675"/>
            <a:ext cx="10801350" cy="449251"/>
          </a:xfrm>
        </p:spPr>
        <p:txBody>
          <a:bodyPr anchor="t">
            <a:normAutofit fontScale="90000"/>
          </a:bodyPr>
          <a:lstStyle/>
          <a:p>
            <a:r>
              <a:rPr lang="nl-NL"/>
              <a:t> </a:t>
            </a:r>
            <a:r>
              <a:rPr lang="nl-NL" sz="4000"/>
              <a:t>Bevorderende factoren</a:t>
            </a:r>
          </a:p>
        </p:txBody>
      </p:sp>
      <p:sp>
        <p:nvSpPr>
          <p:cNvPr id="12" name="Tijdelijke aanduiding voor inhoud 7">
            <a:extLst>
              <a:ext uri="{FF2B5EF4-FFF2-40B4-BE49-F238E27FC236}">
                <a16:creationId xmlns:a16="http://schemas.microsoft.com/office/drawing/2014/main" id="{33A8D1DB-4397-09EF-A829-24A97CFD398A}"/>
              </a:ext>
            </a:extLst>
          </p:cNvPr>
          <p:cNvSpPr>
            <a:spLocks noGrp="1"/>
          </p:cNvSpPr>
          <p:nvPr>
            <p:ph sz="half" idx="1"/>
          </p:nvPr>
        </p:nvSpPr>
        <p:spPr>
          <a:xfrm>
            <a:off x="698742" y="1268413"/>
            <a:ext cx="8100874" cy="4562475"/>
          </a:xfrm>
        </p:spPr>
        <p:txBody>
          <a:bodyPr vert="horz" lIns="0" tIns="0" rIns="0" bIns="0" rtlCol="0">
            <a:noAutofit/>
          </a:bodyPr>
          <a:lstStyle/>
          <a:p>
            <a:pPr marL="0" indent="0" rtl="0" fontAlgn="base">
              <a:spcAft>
                <a:spcPts val="600"/>
              </a:spcAft>
              <a:buNone/>
            </a:pPr>
            <a:r>
              <a:rPr lang="nl-NL" sz="1800" b="1">
                <a:solidFill>
                  <a:schemeClr val="accent6">
                    <a:lumMod val="90000"/>
                  </a:schemeClr>
                </a:solidFill>
              </a:rPr>
              <a:t>Zorgverleners</a:t>
            </a:r>
          </a:p>
          <a:p>
            <a:pPr rtl="0" fontAlgn="base">
              <a:spcAft>
                <a:spcPts val="600"/>
              </a:spcAft>
            </a:pPr>
            <a:r>
              <a:rPr lang="nl-NL" sz="1800"/>
              <a:t>Elkaar (leren) kennen en weten te vinden</a:t>
            </a:r>
          </a:p>
          <a:p>
            <a:pPr rtl="0" fontAlgn="base">
              <a:spcAft>
                <a:spcPts val="600"/>
              </a:spcAft>
            </a:pPr>
            <a:r>
              <a:rPr lang="nl-NL" sz="1800"/>
              <a:t>Kennis uitwisselen</a:t>
            </a:r>
          </a:p>
          <a:p>
            <a:pPr rtl="0" fontAlgn="base">
              <a:spcAft>
                <a:spcPts val="600"/>
              </a:spcAft>
            </a:pPr>
            <a:r>
              <a:rPr lang="nl-NL" sz="1800"/>
              <a:t>Duidelijke communicatie</a:t>
            </a:r>
          </a:p>
          <a:p>
            <a:pPr marL="0" indent="0" rtl="0" fontAlgn="base">
              <a:spcAft>
                <a:spcPts val="600"/>
              </a:spcAft>
              <a:buNone/>
            </a:pPr>
            <a:endParaRPr lang="nl-NL" sz="1800"/>
          </a:p>
          <a:p>
            <a:pPr marL="0" indent="0" rtl="0" fontAlgn="base">
              <a:spcAft>
                <a:spcPts val="600"/>
              </a:spcAft>
              <a:buNone/>
            </a:pPr>
            <a:r>
              <a:rPr lang="nl-NL" sz="1800" b="1">
                <a:solidFill>
                  <a:schemeClr val="accent6">
                    <a:lumMod val="90000"/>
                  </a:schemeClr>
                </a:solidFill>
              </a:rPr>
              <a:t>Bestuurders</a:t>
            </a:r>
          </a:p>
          <a:p>
            <a:pPr marL="285750" lvl="7" indent="-285750" fontAlgn="base">
              <a:spcAft>
                <a:spcPts val="600"/>
              </a:spcAft>
              <a:buFont typeface="Arial" panose="020B0604020202020204" pitchFamily="34" charset="0"/>
              <a:buChar char="•"/>
            </a:pPr>
            <a:r>
              <a:rPr lang="nl-NL" sz="1800" i="0" u="none" strike="noStrike">
                <a:effectLst/>
              </a:rPr>
              <a:t>Gezamenlijke visie en haalbare doelen</a:t>
            </a:r>
            <a:endParaRPr lang="nl-NL" sz="1800"/>
          </a:p>
          <a:p>
            <a:pPr rtl="0" fontAlgn="base">
              <a:spcAft>
                <a:spcPts val="600"/>
              </a:spcAft>
            </a:pPr>
            <a:r>
              <a:rPr lang="nl-NL" sz="1800"/>
              <a:t>Betrokken bestuursleden vanuit verschillende settingen</a:t>
            </a:r>
          </a:p>
          <a:p>
            <a:pPr rtl="0" fontAlgn="base">
              <a:spcAft>
                <a:spcPts val="600"/>
              </a:spcAft>
            </a:pPr>
            <a:endParaRPr lang="nl-NL" sz="1800" i="0" u="none" strike="noStrike">
              <a:effectLst/>
            </a:endParaRPr>
          </a:p>
          <a:p>
            <a:pPr marL="0" indent="0" rtl="0" fontAlgn="base">
              <a:spcAft>
                <a:spcPts val="600"/>
              </a:spcAft>
              <a:buNone/>
            </a:pPr>
            <a:endParaRPr lang="nl-NL" sz="1800" i="0" u="none" strike="noStrike">
              <a:effectLst/>
            </a:endParaRPr>
          </a:p>
          <a:p>
            <a:pPr marL="0" indent="0" rtl="0" fontAlgn="base">
              <a:spcAft>
                <a:spcPts val="600"/>
              </a:spcAft>
              <a:buNone/>
            </a:pPr>
            <a:endParaRPr lang="nl-NL" sz="2400" i="0" u="none" strike="noStrike">
              <a:effectLst/>
            </a:endParaRPr>
          </a:p>
          <a:p>
            <a:pPr marL="287655" indent="-287655" rtl="0" fontAlgn="base">
              <a:spcAft>
                <a:spcPts val="600"/>
              </a:spcAft>
              <a:buAutoNum type="arabicPeriod"/>
            </a:pPr>
            <a:endParaRPr lang="nl-NL" sz="2400" i="0" u="none" strike="noStrike">
              <a:effectLst/>
            </a:endParaRPr>
          </a:p>
          <a:p>
            <a:pPr marL="0" indent="0" rtl="0" fontAlgn="base">
              <a:spcAft>
                <a:spcPts val="600"/>
              </a:spcAft>
              <a:buNone/>
            </a:pPr>
            <a:endParaRPr lang="nl-NL" sz="2400" i="0" u="none" strike="noStrike">
              <a:effectLst/>
            </a:endParaRPr>
          </a:p>
          <a:p>
            <a:pPr marL="0" indent="0" rtl="0" fontAlgn="base">
              <a:spcAft>
                <a:spcPts val="600"/>
              </a:spcAft>
              <a:buNone/>
            </a:pPr>
            <a:endParaRPr lang="nl-NL" sz="2400" i="0" u="none" strike="noStrike">
              <a:effectLst/>
            </a:endParaRPr>
          </a:p>
        </p:txBody>
      </p:sp>
      <p:pic>
        <p:nvPicPr>
          <p:cNvPr id="13" name="Picture 2">
            <a:extLst>
              <a:ext uri="{FF2B5EF4-FFF2-40B4-BE49-F238E27FC236}">
                <a16:creationId xmlns:a16="http://schemas.microsoft.com/office/drawing/2014/main" id="{6008628D-28D0-E68C-2282-0623E45001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4891" y="2365138"/>
            <a:ext cx="6648450" cy="4000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314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701675"/>
            <a:ext cx="10801350" cy="830242"/>
          </a:xfrm>
        </p:spPr>
        <p:txBody>
          <a:bodyPr anchor="t">
            <a:noAutofit/>
          </a:bodyPr>
          <a:lstStyle/>
          <a:p>
            <a:r>
              <a:rPr lang="nl-NL" sz="3200" noProof="0"/>
              <a:t>Belemmerende factoren</a:t>
            </a:r>
          </a:p>
        </p:txBody>
      </p:sp>
      <p:sp>
        <p:nvSpPr>
          <p:cNvPr id="57"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277938"/>
            <a:ext cx="10800000" cy="4963124"/>
          </a:xfrm>
        </p:spPr>
        <p:txBody>
          <a:bodyPr vert="horz" lIns="0" tIns="0" rIns="0" bIns="0" rtlCol="0" anchor="t">
            <a:normAutofit/>
          </a:bodyPr>
          <a:lstStyle/>
          <a:p>
            <a:pPr marL="0" indent="0" rtl="0" fontAlgn="base">
              <a:spcAft>
                <a:spcPts val="600"/>
              </a:spcAft>
              <a:buNone/>
            </a:pPr>
            <a:r>
              <a:rPr lang="nl-NL" sz="2000" b="1" noProof="0">
                <a:solidFill>
                  <a:schemeClr val="accent6">
                    <a:lumMod val="90000"/>
                  </a:schemeClr>
                </a:solidFill>
              </a:rPr>
              <a:t>Zorgverleners</a:t>
            </a:r>
            <a:endParaRPr lang="nl-NL" sz="2000" b="1" i="0" noProof="0">
              <a:solidFill>
                <a:schemeClr val="accent6">
                  <a:lumMod val="90000"/>
                </a:schemeClr>
              </a:solidFill>
              <a:effectLst/>
            </a:endParaRPr>
          </a:p>
          <a:p>
            <a:pPr marL="287655" indent="-287655" rtl="0" fontAlgn="base">
              <a:spcAft>
                <a:spcPts val="600"/>
              </a:spcAft>
            </a:pPr>
            <a:r>
              <a:rPr lang="nl-NL" sz="2000" noProof="0"/>
              <a:t>Gebrek aan tijd</a:t>
            </a:r>
            <a:endParaRPr lang="nl-NL" sz="2000" noProof="0">
              <a:cs typeface="Poppins"/>
            </a:endParaRPr>
          </a:p>
          <a:p>
            <a:pPr marL="287655" indent="-287655" rtl="0" fontAlgn="base">
              <a:spcAft>
                <a:spcPts val="600"/>
              </a:spcAft>
            </a:pPr>
            <a:r>
              <a:rPr lang="nl-NL" sz="2000" noProof="0"/>
              <a:t>Discontinuïteit aan deelnemers waardoor het lastig is elkaar echt te leren kennen</a:t>
            </a:r>
            <a:endParaRPr lang="nl-NL" sz="2000" noProof="0">
              <a:cs typeface="Poppins"/>
            </a:endParaRPr>
          </a:p>
          <a:p>
            <a:pPr marL="287655" indent="-287655" rtl="0" fontAlgn="base">
              <a:spcAft>
                <a:spcPts val="600"/>
              </a:spcAft>
            </a:pPr>
            <a:r>
              <a:rPr lang="nl-NL" sz="2000" noProof="0"/>
              <a:t>Organisaties die onder meerdere netwerken vallen</a:t>
            </a:r>
          </a:p>
          <a:p>
            <a:pPr marL="0" indent="0" rtl="0" fontAlgn="base">
              <a:spcAft>
                <a:spcPts val="600"/>
              </a:spcAft>
              <a:buNone/>
            </a:pPr>
            <a:endParaRPr lang="nl-NL" sz="2000" noProof="0"/>
          </a:p>
          <a:p>
            <a:pPr marL="0" indent="0" rtl="0" fontAlgn="base">
              <a:spcAft>
                <a:spcPts val="600"/>
              </a:spcAft>
              <a:buNone/>
            </a:pPr>
            <a:r>
              <a:rPr lang="nl-NL" sz="2000" b="1" noProof="0">
                <a:solidFill>
                  <a:schemeClr val="accent6">
                    <a:lumMod val="90000"/>
                  </a:schemeClr>
                </a:solidFill>
              </a:rPr>
              <a:t>Bestuurders</a:t>
            </a:r>
          </a:p>
          <a:p>
            <a:pPr marL="287655" indent="-287655" rtl="0" fontAlgn="base">
              <a:spcAft>
                <a:spcPts val="600"/>
              </a:spcAft>
            </a:pPr>
            <a:r>
              <a:rPr lang="nl-NL" sz="2000" noProof="0"/>
              <a:t>Belang eigen organisatie voor belang patiënt/ concurrentiegevoel</a:t>
            </a:r>
          </a:p>
          <a:p>
            <a:pPr marL="287655" indent="-287655" rtl="0" fontAlgn="base">
              <a:spcAft>
                <a:spcPts val="600"/>
              </a:spcAft>
            </a:pPr>
            <a:r>
              <a:rPr lang="nl-NL" sz="2000"/>
              <a:t>Gebrek aan transparantie: wie doet wat, financiën</a:t>
            </a:r>
          </a:p>
          <a:p>
            <a:pPr marL="287655" indent="-287655" rtl="0" fontAlgn="base">
              <a:spcAft>
                <a:spcPts val="600"/>
              </a:spcAft>
            </a:pPr>
            <a:r>
              <a:rPr lang="nl-NL" sz="2000"/>
              <a:t>Onvoldoende draagvlak om bij elkaar te komen op bestuurlijk niveau</a:t>
            </a:r>
          </a:p>
          <a:p>
            <a:pPr marL="0" indent="0" rtl="0" fontAlgn="base">
              <a:spcAft>
                <a:spcPts val="600"/>
              </a:spcAft>
              <a:buNone/>
            </a:pPr>
            <a:endParaRPr lang="nl-NL" sz="2400" noProof="0">
              <a:cs typeface="Poppins"/>
            </a:endParaRPr>
          </a:p>
          <a:p>
            <a:pPr marL="287655" indent="-287655" rtl="0" fontAlgn="base">
              <a:spcAft>
                <a:spcPts val="600"/>
              </a:spcAft>
              <a:buFontTx/>
              <a:buChar char="-"/>
            </a:pPr>
            <a:endParaRPr lang="nl-NL" b="0" i="0" noProof="0">
              <a:effectLst/>
              <a:cs typeface="Poppins"/>
            </a:endParaRPr>
          </a:p>
          <a:p>
            <a:pPr marL="0" indent="0" rtl="0" fontAlgn="base">
              <a:spcAft>
                <a:spcPts val="600"/>
              </a:spcAft>
              <a:buNone/>
            </a:pPr>
            <a:endParaRPr lang="nl-NL" b="0" i="0" noProof="0">
              <a:effectLst/>
            </a:endParaRPr>
          </a:p>
        </p:txBody>
      </p:sp>
    </p:spTree>
    <p:extLst>
      <p:ext uri="{BB962C8B-B14F-4D97-AF65-F5344CB8AC3E}">
        <p14:creationId xmlns:p14="http://schemas.microsoft.com/office/powerpoint/2010/main" val="2336586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0807194-8b6e-42f2-a94c-2047ef2ac8b9" xsi:nil="true"/>
    <lcf76f155ced4ddcb4097134ff3c332f xmlns="c770807c-c114-4bc7-a60c-977b47a486e4">
      <Terms xmlns="http://schemas.microsoft.com/office/infopath/2007/PartnerControls"/>
    </lcf76f155ced4ddcb4097134ff3c332f>
    <SharedWithUsers xmlns="60807194-8b6e-42f2-a94c-2047ef2ac8b9">
      <UserInfo>
        <DisplayName>Selina van Loon</DisplayName>
        <AccountId>203</AccountId>
        <AccountType/>
      </UserInfo>
      <UserInfo>
        <DisplayName>Linette Belo</DisplayName>
        <AccountId>256</AccountId>
        <AccountType/>
      </UserInfo>
      <UserInfo>
        <DisplayName>Eveline van Drielen</DisplayName>
        <AccountId>1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E02325B4C7F944983C9F8FE53C1D6A6" ma:contentTypeVersion="16" ma:contentTypeDescription="Een nieuw document maken." ma:contentTypeScope="" ma:versionID="7e892f56afc54d28cc7bf315b414c3b0">
  <xsd:schema xmlns:xsd="http://www.w3.org/2001/XMLSchema" xmlns:xs="http://www.w3.org/2001/XMLSchema" xmlns:p="http://schemas.microsoft.com/office/2006/metadata/properties" xmlns:ns2="c770807c-c114-4bc7-a60c-977b47a486e4" xmlns:ns3="60807194-8b6e-42f2-a94c-2047ef2ac8b9" targetNamespace="http://schemas.microsoft.com/office/2006/metadata/properties" ma:root="true" ma:fieldsID="f1a29ab3a247f12002e4aaa2ae8fd182" ns2:_="" ns3:_="">
    <xsd:import namespace="c770807c-c114-4bc7-a60c-977b47a486e4"/>
    <xsd:import namespace="60807194-8b6e-42f2-a94c-2047ef2ac8b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70807c-c114-4bc7-a60c-977b47a486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Afbeeldingtags" ma:readOnly="false" ma:fieldId="{5cf76f15-5ced-4ddc-b409-7134ff3c332f}" ma:taxonomyMulti="true" ma:sspId="2c0e6f01-f5fc-4fbb-bcf5-e6018e8218ff"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0807194-8b6e-42f2-a94c-2047ef2ac8b9"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7bee8bba-53ab-4519-b296-f29b03ed782c}" ma:internalName="TaxCatchAll" ma:showField="CatchAllData" ma:web="60807194-8b6e-42f2-a94c-2047ef2ac8b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051BA14-B82A-49ED-BEC6-74A825A132B7}">
  <ds:schemaRefs>
    <ds:schemaRef ds:uri="21300b7a-6798-42a6-ac28-f317d3ebb4c0"/>
    <ds:schemaRef ds:uri="2274c6fa-f0f0-451d-b51a-f5ca0f8f051f"/>
    <ds:schemaRef ds:uri="5e4215e3-6db5-443b-87f1-780260bc32d6"/>
    <ds:schemaRef ds:uri="a0e590f3-5dac-42ba-b68a-d752b5c0f50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EE7FF63-6A8F-42FC-8A89-8224A5BE7805}">
  <ds:schemaRefs>
    <ds:schemaRef ds:uri="http://schemas.microsoft.com/sharepoint/v3/contenttype/forms"/>
  </ds:schemaRefs>
</ds:datastoreItem>
</file>

<file path=customXml/itemProps3.xml><?xml version="1.0" encoding="utf-8"?>
<ds:datastoreItem xmlns:ds="http://schemas.openxmlformats.org/officeDocument/2006/customXml" ds:itemID="{B6F1733B-6B60-48D7-A496-187B2589992E}"/>
</file>

<file path=docProps/app.xml><?xml version="1.0" encoding="utf-8"?>
<Properties xmlns="http://schemas.openxmlformats.org/officeDocument/2006/extended-properties" xmlns:vt="http://schemas.openxmlformats.org/officeDocument/2006/docPropsVTypes">
  <Template>PZNL</Template>
  <TotalTime>0</TotalTime>
  <Words>1730</Words>
  <Application>Microsoft Office PowerPoint</Application>
  <PresentationFormat>Breedbeeld</PresentationFormat>
  <Paragraphs>282</Paragraphs>
  <Slides>25</Slides>
  <Notes>24</Notes>
  <HiddenSlides>0</HiddenSlides>
  <MMClips>0</MMClips>
  <ScaleCrop>false</ScaleCrop>
  <HeadingPairs>
    <vt:vector size="6" baseType="variant">
      <vt:variant>
        <vt:lpstr>Gebruikte lettertypen</vt:lpstr>
      </vt:variant>
      <vt:variant>
        <vt:i4>7</vt:i4>
      </vt:variant>
      <vt:variant>
        <vt:lpstr>Thema</vt:lpstr>
      </vt:variant>
      <vt:variant>
        <vt:i4>1</vt:i4>
      </vt:variant>
      <vt:variant>
        <vt:lpstr>Diatitels</vt:lpstr>
      </vt:variant>
      <vt:variant>
        <vt:i4>25</vt:i4>
      </vt:variant>
    </vt:vector>
  </HeadingPairs>
  <TitlesOfParts>
    <vt:vector size="33" baseType="lpstr">
      <vt:lpstr>Arial</vt:lpstr>
      <vt:lpstr>Calibri</vt:lpstr>
      <vt:lpstr>Poppins</vt:lpstr>
      <vt:lpstr>Poppins Light</vt:lpstr>
      <vt:lpstr>Poppins Medium</vt:lpstr>
      <vt:lpstr>Segoe UI</vt:lpstr>
      <vt:lpstr>Wingdings</vt:lpstr>
      <vt:lpstr>PZNL</vt:lpstr>
      <vt:lpstr>Netwerkevaluatie Netwerk Palliatieve zorg regio Gelderse Vallei</vt:lpstr>
      <vt:lpstr>Agenda</vt:lpstr>
      <vt:lpstr>Proces</vt:lpstr>
      <vt:lpstr>Respons</vt:lpstr>
      <vt:lpstr>Definitie Netwerk</vt:lpstr>
      <vt:lpstr>PowerPoint-presentatie</vt:lpstr>
      <vt:lpstr>PowerPoint-presentatie</vt:lpstr>
      <vt:lpstr> Bevorderende factoren</vt:lpstr>
      <vt:lpstr>Belemmerende factoren</vt:lpstr>
      <vt:lpstr>Wensen voor het netwerk</vt:lpstr>
      <vt:lpstr>Reflectie</vt:lpstr>
      <vt:lpstr>Cijfer voor samenwerking</vt:lpstr>
      <vt:lpstr> Ambitie (wat willen we met het Netwerk bereiken)</vt:lpstr>
      <vt:lpstr> Belangen</vt:lpstr>
      <vt:lpstr> Relaties</vt:lpstr>
      <vt:lpstr>Proces</vt:lpstr>
      <vt:lpstr>Organisatie</vt:lpstr>
      <vt:lpstr>Implementatie kwaliteitskader</vt:lpstr>
      <vt:lpstr>Opvallendheden</vt:lpstr>
      <vt:lpstr>Reflectie</vt:lpstr>
      <vt:lpstr>Missie</vt:lpstr>
      <vt:lpstr>Visie</vt:lpstr>
      <vt:lpstr>Vier pijlers </vt:lpstr>
      <vt:lpstr>Discussie</vt:lpstr>
      <vt:lpstr>Discuss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Selina van Loon</dc:creator>
  <cp:lastModifiedBy>Eveline van Drielen</cp:lastModifiedBy>
  <cp:revision>2</cp:revision>
  <dcterms:created xsi:type="dcterms:W3CDTF">2024-04-08T07:31:09Z</dcterms:created>
  <dcterms:modified xsi:type="dcterms:W3CDTF">2025-06-16T16:0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02325B4C7F944983C9F8FE53C1D6A6</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Order">
    <vt:lpwstr>1669300.00000000</vt:lpwstr>
  </property>
</Properties>
</file>